
<file path=[Content_Types].xml><?xml version="1.0" encoding="utf-8"?>
<Types xmlns="http://schemas.openxmlformats.org/package/2006/content-types">
  <Default Extension="xml" ContentType="application/xml"/>
  <Default Extension="rels" ContentType="application/vnd.openxmlformats-package.relationships+xml"/>
  <Default Extension="emf" ContentType="image/x-emf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11"/>
  </p:notesMasterIdLst>
  <p:handoutMasterIdLst>
    <p:handoutMasterId r:id="rId12"/>
  </p:handoutMasterIdLst>
  <p:sldIdLst>
    <p:sldId id="428" r:id="rId2"/>
    <p:sldId id="409" r:id="rId3"/>
    <p:sldId id="429" r:id="rId4"/>
    <p:sldId id="444" r:id="rId5"/>
    <p:sldId id="438" r:id="rId6"/>
    <p:sldId id="446" r:id="rId7"/>
    <p:sldId id="449" r:id="rId8"/>
    <p:sldId id="445" r:id="rId9"/>
    <p:sldId id="422" r:id="rId10"/>
  </p:sldIdLst>
  <p:sldSz cx="9144000" cy="6858000" type="screen4x3"/>
  <p:notesSz cx="6797675" cy="9928225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4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4201" userDrawn="1">
          <p15:clr>
            <a:srgbClr val="A4A3A4"/>
          </p15:clr>
        </p15:guide>
        <p15:guide id="4" orient="horz" pos="3888" userDrawn="1">
          <p15:clr>
            <a:srgbClr val="A4A3A4"/>
          </p15:clr>
        </p15:guide>
        <p15:guide id="5" orient="horz" pos="3974" userDrawn="1">
          <p15:clr>
            <a:srgbClr val="A4A3A4"/>
          </p15:clr>
        </p15:guide>
        <p15:guide id="6" orient="horz" pos="1102" userDrawn="1">
          <p15:clr>
            <a:srgbClr val="A4A3A4"/>
          </p15:clr>
        </p15:guide>
        <p15:guide id="7" orient="horz" pos="1026" userDrawn="1">
          <p15:clr>
            <a:srgbClr val="A4A3A4"/>
          </p15:clr>
        </p15:guide>
        <p15:guide id="8" orient="horz" pos="2432" userDrawn="1">
          <p15:clr>
            <a:srgbClr val="A4A3A4"/>
          </p15:clr>
        </p15:guide>
        <p15:guide id="9" orient="horz" pos="2523" userDrawn="1">
          <p15:clr>
            <a:srgbClr val="A4A3A4"/>
          </p15:clr>
        </p15:guide>
        <p15:guide id="10" orient="horz" pos="336" userDrawn="1">
          <p15:clr>
            <a:srgbClr val="A4A3A4"/>
          </p15:clr>
        </p15:guide>
        <p15:guide id="11" pos="2848" userDrawn="1">
          <p15:clr>
            <a:srgbClr val="A4A3A4"/>
          </p15:clr>
        </p15:guide>
        <p15:guide id="12" pos="340" userDrawn="1">
          <p15:clr>
            <a:srgbClr val="A4A3A4"/>
          </p15:clr>
        </p15:guide>
        <p15:guide id="13" pos="5420" userDrawn="1">
          <p15:clr>
            <a:srgbClr val="A4A3A4"/>
          </p15:clr>
        </p15:guide>
        <p15:guide id="14" pos="2925" userDrawn="1">
          <p15:clr>
            <a:srgbClr val="A4A3A4"/>
          </p15:clr>
        </p15:guide>
        <p15:guide id="15" pos="1973" userDrawn="1">
          <p15:clr>
            <a:srgbClr val="A4A3A4"/>
          </p15:clr>
        </p15:guide>
        <p15:guide id="16" pos="2070" userDrawn="1">
          <p15:clr>
            <a:srgbClr val="A4A3A4"/>
          </p15:clr>
        </p15:guide>
        <p15:guide id="17" pos="3787" userDrawn="1">
          <p15:clr>
            <a:srgbClr val="A4A3A4"/>
          </p15:clr>
        </p15:guide>
        <p15:guide id="18" pos="1111" userDrawn="1">
          <p15:clr>
            <a:srgbClr val="A4A3A4"/>
          </p15:clr>
        </p15:guide>
        <p15:guide id="19" pos="4649" userDrawn="1">
          <p15:clr>
            <a:srgbClr val="A4A3A4"/>
          </p15:clr>
        </p15:guide>
        <p15:guide id="20" pos="4558" userDrawn="1">
          <p15:clr>
            <a:srgbClr val="A4A3A4"/>
          </p15:clr>
        </p15:guide>
        <p15:guide id="21" pos="3696" userDrawn="1">
          <p15:clr>
            <a:srgbClr val="A4A3A4"/>
          </p15:clr>
        </p15:guide>
        <p15:guide id="22" pos="1202" userDrawn="1">
          <p15:clr>
            <a:srgbClr val="A4A3A4"/>
          </p15:clr>
        </p15:guide>
        <p15:guide id="23" orient="horz" pos="3884" userDrawn="1">
          <p15:clr>
            <a:srgbClr val="A4A3A4"/>
          </p15:clr>
        </p15:guide>
        <p15:guide id="24" orient="horz" pos="1117" userDrawn="1">
          <p15:clr>
            <a:srgbClr val="A4A3A4"/>
          </p15:clr>
        </p15:guide>
        <p15:guide id="25" orient="horz" pos="34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a Vida Villanueva" initials="MVV" lastIdx="1" clrIdx="0"/>
  <p:cmAuthor id="1" name="Curt Moldenhauer" initials="CFM" lastIdx="15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8C00"/>
    <a:srgbClr val="0074B4"/>
    <a:srgbClr val="A32020"/>
    <a:srgbClr val="D9D9D9"/>
    <a:srgbClr val="968C6D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D073F8-1565-44D7-B386-08B59EADF2EE}">
  <a:tblStyle styleId="{69D073F8-1565-44D7-B386-08B59EADF2EE}" styleName="PwC Table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i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739" autoAdjust="0"/>
    <p:restoredTop sz="85957" autoAdjust="0"/>
  </p:normalViewPr>
  <p:slideViewPr>
    <p:cSldViewPr>
      <p:cViewPr>
        <p:scale>
          <a:sx n="100" d="100"/>
          <a:sy n="100" d="100"/>
        </p:scale>
        <p:origin x="944" y="-8"/>
      </p:cViewPr>
      <p:guideLst>
        <p:guide orient="horz" pos="144"/>
        <p:guide orient="horz" pos="436"/>
        <p:guide orient="horz" pos="4201"/>
        <p:guide orient="horz" pos="3888"/>
        <p:guide orient="horz" pos="3974"/>
        <p:guide orient="horz" pos="1102"/>
        <p:guide orient="horz" pos="1026"/>
        <p:guide orient="horz" pos="2432"/>
        <p:guide orient="horz" pos="2523"/>
        <p:guide orient="horz" pos="336"/>
        <p:guide pos="2848"/>
        <p:guide pos="340"/>
        <p:guide pos="5420"/>
        <p:guide pos="2925"/>
        <p:guide pos="1973"/>
        <p:guide pos="2070"/>
        <p:guide pos="3787"/>
        <p:guide pos="1111"/>
        <p:guide pos="4649"/>
        <p:guide pos="4558"/>
        <p:guide pos="3696"/>
        <p:guide pos="1202"/>
        <p:guide orient="horz" pos="3884"/>
        <p:guide orient="horz" pos="1117"/>
        <p:guide orient="horz" pos="34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98" d="100"/>
          <a:sy n="98" d="100"/>
        </p:scale>
        <p:origin x="-3564" y="-114"/>
      </p:cViewPr>
      <p:guideLst>
        <p:guide orient="horz" pos="2880"/>
        <p:guide pos="2160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notesMaster" Target="notesMasters/notesMaster1.xml"/><Relationship Id="rId12" Type="http://schemas.openxmlformats.org/officeDocument/2006/relationships/handoutMaster" Target="handoutMasters/handoutMaster1.xml"/><Relationship Id="rId13" Type="http://schemas.openxmlformats.org/officeDocument/2006/relationships/tags" Target="tags/tag1.xml"/><Relationship Id="rId14" Type="http://schemas.openxmlformats.org/officeDocument/2006/relationships/commentAuthors" Target="commentAuthors.xml"/><Relationship Id="rId15" Type="http://schemas.openxmlformats.org/officeDocument/2006/relationships/presProps" Target="presProps.xml"/><Relationship Id="rId16" Type="http://schemas.openxmlformats.org/officeDocument/2006/relationships/viewProps" Target="viewProps.xml"/><Relationship Id="rId17" Type="http://schemas.openxmlformats.org/officeDocument/2006/relationships/theme" Target="theme/theme1.xml"/><Relationship Id="rId1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330" tIns="45665" rIns="91330" bIns="45665" rtlCol="0"/>
          <a:lstStyle>
            <a:lvl1pPr algn="l">
              <a:defRPr sz="1200"/>
            </a:lvl1pPr>
          </a:lstStyle>
          <a:p>
            <a:endParaRPr lang="zh-CN" alt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1330" tIns="45665" rIns="91330" bIns="45665" rtlCol="0"/>
          <a:lstStyle>
            <a:lvl1pPr algn="r">
              <a:defRPr sz="1200"/>
            </a:lvl1pPr>
          </a:lstStyle>
          <a:p>
            <a:fld id="{35F05CFF-548C-4E04-B325-CF1209D66BDC}" type="datetimeFigureOut">
              <a:rPr lang="en-US" altLang="zh-CN" smtClean="0">
                <a:latin typeface="Arial" pitchFamily="34" charset="0"/>
                <a:cs typeface="Arial" pitchFamily="34" charset="0"/>
              </a:rPr>
              <a:pPr/>
              <a:t>3/4/18</a:t>
            </a:fld>
            <a:endParaRPr lang="zh-CN" alt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330" tIns="45665" rIns="91330" bIns="45665" rtlCol="0" anchor="b"/>
          <a:lstStyle>
            <a:lvl1pPr algn="l">
              <a:defRPr sz="1200"/>
            </a:lvl1pPr>
          </a:lstStyle>
          <a:p>
            <a:endParaRPr lang="zh-CN" alt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330" tIns="45665" rIns="91330" bIns="45665" rtlCol="0" anchor="b"/>
          <a:lstStyle>
            <a:lvl1pPr algn="r">
              <a:defRPr sz="1200"/>
            </a:lvl1pPr>
          </a:lstStyle>
          <a:p>
            <a:fld id="{4EE90EF7-3E10-491C-87C2-59674BB3AAF6}" type="slidenum">
              <a:rPr lang="en-US" altLang="zh-CN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zh-CN" alt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75995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330" tIns="45665" rIns="91330" bIns="45665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1330" tIns="45665" rIns="91330" bIns="45665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5EFB8DA3-BCA9-4B7D-B50D-14F47506B614}" type="datetimeFigureOut">
              <a:rPr lang="en-US" altLang="zh-CN" smtClean="0"/>
              <a:pPr/>
              <a:t>3/4/18</a:t>
            </a:fld>
            <a:endParaRPr lang="zh-CN" alt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4538"/>
            <a:ext cx="4960937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30" tIns="45665" rIns="91330" bIns="45665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330" tIns="45665" rIns="91330" bIns="45665" rtlCol="0">
            <a:normAutofit/>
          </a:bodyPr>
          <a:lstStyle/>
          <a:p>
            <a:pPr lvl="0"/>
            <a:r>
              <a:rPr lang="en-US" altLang="zh-CN" dirty="0" smtClean="0"/>
              <a:t>Click to edit Master text styles</a:t>
            </a:r>
          </a:p>
          <a:p>
            <a:pPr lvl="1"/>
            <a:r>
              <a:rPr lang="en-US" altLang="zh-CN" dirty="0" smtClean="0"/>
              <a:t>Second level</a:t>
            </a:r>
          </a:p>
          <a:p>
            <a:pPr lvl="2"/>
            <a:r>
              <a:rPr lang="en-US" altLang="zh-CN" dirty="0" smtClean="0"/>
              <a:t>Third level</a:t>
            </a:r>
          </a:p>
          <a:p>
            <a:pPr lvl="3"/>
            <a:r>
              <a:rPr lang="en-US" altLang="zh-CN" dirty="0" smtClean="0"/>
              <a:t>Fourth level</a:t>
            </a:r>
          </a:p>
          <a:p>
            <a:pPr lvl="4"/>
            <a:r>
              <a:rPr lang="en-US" altLang="zh-CN" dirty="0" smtClean="0"/>
              <a:t>Fifth level</a:t>
            </a:r>
            <a:endParaRPr lang="zh-CN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330" tIns="45665" rIns="91330" bIns="45665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330" tIns="45665" rIns="91330" bIns="45665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F07B8F03-BC93-4120-96CA-A36DF640BE24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25980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4113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altLang="zh-CN" smtClean="0">
                <a:ea typeface="Arial Unicode MS" panose="020B0604020202020204" pitchFamily="34" charset="-122"/>
              </a:rPr>
              <a:pPr/>
              <a:t>1</a:t>
            </a:fld>
            <a:endParaRPr lang="zh-CN" altLang="en-US" dirty="0">
              <a:ea typeface="Arial Unicode MS" panose="020B0604020202020204" pitchFamily="34" charset="-122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>
              <a:ea typeface="Arial Unicode MS" panose="020B0604020202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895975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4113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altLang="zh-CN" smtClean="0"/>
              <a:pPr/>
              <a:t>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717123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4113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altLang="zh-CN" smtClean="0"/>
              <a:pPr/>
              <a:t>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175133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altLang="zh-CN" smtClean="0"/>
              <a:pPr/>
              <a:t>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03606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altLang="zh-CN" smtClean="0"/>
              <a:pPr/>
              <a:t>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203755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altLang="zh-CN" smtClean="0"/>
              <a:pPr/>
              <a:t>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069541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altLang="zh-CN" smtClean="0"/>
              <a:pPr/>
              <a:t>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050635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altLang="zh-CN" smtClean="0"/>
              <a:pPr/>
              <a:t>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39025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5350" y="739775"/>
            <a:ext cx="4927600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1519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tags" Target="../tags/tag5.xml"/><Relationship Id="rId5" Type="http://schemas.openxmlformats.org/officeDocument/2006/relationships/tags" Target="../tags/tag6.xml"/><Relationship Id="rId6" Type="http://schemas.openxmlformats.org/officeDocument/2006/relationships/tags" Target="../tags/tag7.xml"/><Relationship Id="rId7" Type="http://schemas.openxmlformats.org/officeDocument/2006/relationships/tags" Target="../tags/tag8.xml"/><Relationship Id="rId8" Type="http://schemas.openxmlformats.org/officeDocument/2006/relationships/tags" Target="../tags/tag9.xml"/><Relationship Id="rId9" Type="http://schemas.openxmlformats.org/officeDocument/2006/relationships/tags" Target="../tags/tag10.xml"/><Relationship Id="rId10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2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 bwMode="gray">
          <a:xfrm>
            <a:off x="1752601" y="5"/>
            <a:ext cx="7391400" cy="6176009"/>
            <a:chOff x="19140488" y="13674"/>
            <a:chExt cx="7443798" cy="6145827"/>
          </a:xfrm>
        </p:grpSpPr>
        <p:sp>
          <p:nvSpPr>
            <p:cNvPr id="23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8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4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5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6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7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8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9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0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95477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altLang="zh-CN" noProof="0" dirty="0" smtClean="0"/>
              <a:t>Click to add the presentation’s main title</a:t>
            </a:r>
            <a:endParaRPr lang="zh-CN" altLang="en-US" noProof="0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95477" y="1828803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altLang="zh-CN" noProof="0" dirty="0" smtClean="0"/>
              <a:t>Subtitle and date (move higher if title is only one line)</a:t>
            </a:r>
          </a:p>
        </p:txBody>
      </p:sp>
      <p:sp>
        <p:nvSpPr>
          <p:cNvPr id="21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altLang="zh-CN" noProof="0" dirty="0" err="1" smtClean="0"/>
              <a:t>www.pwc.com</a:t>
            </a:r>
            <a:endParaRPr lang="zh-CN" altLang="en-US" noProof="0" dirty="0"/>
          </a:p>
        </p:txBody>
      </p:sp>
      <p:grpSp>
        <p:nvGrpSpPr>
          <p:cNvPr id="16" name="Group 32"/>
          <p:cNvGrpSpPr/>
          <p:nvPr userDrawn="1"/>
        </p:nvGrpSpPr>
        <p:grpSpPr>
          <a:xfrm>
            <a:off x="968592" y="6170995"/>
            <a:ext cx="914400" cy="533479"/>
            <a:chOff x="518032" y="978681"/>
            <a:chExt cx="4572000" cy="2667393"/>
          </a:xfrm>
        </p:grpSpPr>
        <p:sp>
          <p:nvSpPr>
            <p:cNvPr id="1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  <p:pic>
        <p:nvPicPr>
          <p:cNvPr id="22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91402" y="6360762"/>
            <a:ext cx="1211653" cy="284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7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15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1752600"/>
            <a:ext cx="8077200" cy="4419600"/>
          </a:xfrm>
        </p:spPr>
        <p:txBody>
          <a:bodyPr/>
          <a:lstStyle>
            <a:lvl1pPr>
              <a:defRPr sz="3200" baseline="0"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 sz="3200"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 sz="3200"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 sz="3200"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 sz="3200"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 sz="3200" baseline="0"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buAutoNum type="alphaLcPeriod"/>
              <a:defRPr sz="3200" baseline="0"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buNone/>
              <a:defRPr sz="3200">
                <a:solidFill>
                  <a:schemeClr val="tx2"/>
                </a:solidFill>
              </a:defRPr>
            </a:lvl8pPr>
            <a:lvl9pPr>
              <a:defRPr sz="3200"/>
            </a:lvl9pPr>
          </a:lstStyle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9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point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752600"/>
            <a:ext cx="8077200" cy="4419600"/>
          </a:xfrm>
        </p:spPr>
        <p:txBody>
          <a:bodyPr>
            <a:noAutofit/>
          </a:bodyPr>
          <a:lstStyle>
            <a:lvl1pPr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defRPr sz="3200" baseline="0">
                <a:solidFill>
                  <a:schemeClr val="bg1"/>
                </a:solidFill>
              </a:defRPr>
            </a:lvl1pPr>
            <a:lvl2pPr marL="444489" indent="-263519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2pPr>
            <a:lvl3pPr marL="714357" indent="-266693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3pPr>
            <a:lvl4pPr marL="984226" indent="-266693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4pPr>
            <a:lvl5pPr marL="1341405" indent="-266693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5pPr>
            <a:lvl6pPr marL="1611273" indent="-271456">
              <a:lnSpc>
                <a:spcPts val="3600"/>
              </a:lnSpc>
              <a:spcBef>
                <a:spcPts val="0"/>
              </a:spcBef>
              <a:spcAft>
                <a:spcPts val="60"/>
              </a:spcAft>
              <a:buClr>
                <a:schemeClr val="bg1"/>
              </a:buClr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6pPr>
            <a:lvl7pPr>
              <a:defRPr sz="2800">
                <a:solidFill>
                  <a:schemeClr val="bg1"/>
                </a:solidFill>
              </a:defRPr>
            </a:lvl7pPr>
            <a:lvl8pPr>
              <a:lnSpc>
                <a:spcPts val="3600"/>
              </a:lnSpc>
              <a:defRPr sz="2800">
                <a:solidFill>
                  <a:schemeClr val="bg1"/>
                </a:solidFill>
              </a:defRPr>
            </a:lvl8pPr>
            <a:lvl9pPr>
              <a:defRPr sz="2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 smtClean="0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2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533400" y="685805"/>
            <a:ext cx="8077200" cy="106679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noProof="0" dirty="0" smtClean="0"/>
              <a:t>Click to edit Master title style</a:t>
            </a:r>
            <a:endParaRPr lang="zh-CN" altLang="en-US" noProof="0" dirty="0" smtClean="0"/>
          </a:p>
        </p:txBody>
      </p:sp>
      <p:sp>
        <p:nvSpPr>
          <p:cNvPr id="58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3400" y="1905005"/>
            <a:ext cx="8077200" cy="1371599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noProof="0" dirty="0" smtClean="0"/>
              <a:t>Click to edit Master subtitle style</a:t>
            </a:r>
            <a:endParaRPr lang="zh-CN" altLang="en-US" noProof="0" dirty="0" smtClean="0"/>
          </a:p>
        </p:txBody>
      </p:sp>
      <p:sp>
        <p:nvSpPr>
          <p:cNvPr id="3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12" name="Shape 11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1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533400" y="685800"/>
            <a:ext cx="8077200" cy="10668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3400" y="1905000"/>
            <a:ext cx="8077200" cy="13716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altLang="zh-CN" noProof="0" dirty="0" smtClean="0"/>
              <a:t>Click to edit Master subtitle style</a:t>
            </a:r>
            <a:endParaRPr lang="zh-CN" altLang="en-US" noProof="0" dirty="0" smtClean="0"/>
          </a:p>
        </p:txBody>
      </p:sp>
      <p:sp>
        <p:nvSpPr>
          <p:cNvPr id="3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2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altLang="zh-CN" sz="1000" noProof="0" smtClean="0">
                <a:solidFill>
                  <a:schemeClr val="bg1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PwC</a:t>
            </a:r>
            <a:endParaRPr lang="zh-CN" altLang="en-US" sz="1000" noProof="0" dirty="0">
              <a:solidFill>
                <a:schemeClr val="bg1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533400" y="685800"/>
            <a:ext cx="8077200" cy="10668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noProof="0" dirty="0" smtClean="0"/>
              <a:t>Click to edit Master title style</a:t>
            </a:r>
            <a:endParaRPr lang="zh-CN" altLang="en-US" noProof="0" dirty="0" smtClean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3"/>
          </p:nvPr>
        </p:nvSpPr>
        <p:spPr>
          <a:xfrm>
            <a:off x="533403" y="2819400"/>
            <a:ext cx="3962399" cy="335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 smtClean="0"/>
          </a:p>
        </p:txBody>
      </p:sp>
      <p:sp>
        <p:nvSpPr>
          <p:cNvPr id="3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3400" y="1905001"/>
            <a:ext cx="8077200" cy="7620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altLang="zh-CN" noProof="0" dirty="0" smtClean="0"/>
              <a:t>Click to edit Master subtitle style</a:t>
            </a:r>
            <a:endParaRPr lang="zh-CN" altLang="en-US" noProof="0" dirty="0" smtClean="0"/>
          </a:p>
        </p:txBody>
      </p:sp>
      <p:sp>
        <p:nvSpPr>
          <p:cNvPr id="3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12" name="Shape 11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3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1" name="Shape 140"/>
          <p:cNvCxnSpPr/>
          <p:nvPr/>
        </p:nvCxnSpPr>
        <p:spPr>
          <a:xfrm rot="5400000" flipH="1" flipV="1">
            <a:off x="5096259" y="-2734056"/>
            <a:ext cx="152399" cy="6839712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1895477" y="69215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tx1"/>
                </a:solidFill>
              </a:defRPr>
            </a:lvl1pPr>
          </a:lstStyle>
          <a:p>
            <a:r>
              <a:rPr lang="en-US" altLang="zh-CN" noProof="0" dirty="0" smtClean="0"/>
              <a:t>Click to add the presentation’s main title</a:t>
            </a:r>
            <a:endParaRPr lang="zh-CN" altLang="en-US" noProof="0" dirty="0"/>
          </a:p>
        </p:txBody>
      </p:sp>
      <p:sp>
        <p:nvSpPr>
          <p:cNvPr id="14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1895477" y="1752604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altLang="zh-CN" noProof="0" dirty="0" smtClean="0"/>
              <a:t>Subtitle and date (move higher if title is only one line)</a:t>
            </a:r>
          </a:p>
        </p:txBody>
      </p:sp>
      <p:sp>
        <p:nvSpPr>
          <p:cNvPr id="144" name="Text Placeholder 31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altLang="zh-CN" noProof="0" dirty="0" err="1" smtClean="0"/>
              <a:t>www.pwc.com</a:t>
            </a:r>
            <a:endParaRPr lang="zh-CN" altLang="en-US" noProof="0" dirty="0"/>
          </a:p>
        </p:txBody>
      </p:sp>
      <p:grpSp>
        <p:nvGrpSpPr>
          <p:cNvPr id="102" name="Group 101"/>
          <p:cNvGrpSpPr>
            <a:grpSpLocks noChangeAspect="1"/>
          </p:cNvGrpSpPr>
          <p:nvPr userDrawn="1"/>
        </p:nvGrpSpPr>
        <p:grpSpPr>
          <a:xfrm>
            <a:off x="968594" y="5768685"/>
            <a:ext cx="1232283" cy="935789"/>
            <a:chOff x="518032" y="-1032869"/>
            <a:chExt cx="6161413" cy="4678943"/>
          </a:xfrm>
        </p:grpSpPr>
        <p:grpSp>
          <p:nvGrpSpPr>
            <p:cNvPr id="103" name="Group 73"/>
            <p:cNvGrpSpPr>
              <a:grpSpLocks noChangeAspect="1"/>
            </p:cNvGrpSpPr>
            <p:nvPr/>
          </p:nvGrpSpPr>
          <p:grpSpPr>
            <a:xfrm>
              <a:off x="4438637" y="-1032863"/>
              <a:ext cx="2240792" cy="2011550"/>
              <a:chOff x="1905000" y="5715000"/>
              <a:chExt cx="445770" cy="381000"/>
            </a:xfrm>
          </p:grpSpPr>
          <p:sp>
            <p:nvSpPr>
              <p:cNvPr id="107" name="Rectangle 25"/>
              <p:cNvSpPr>
                <a:spLocks noChangeArrowheads="1"/>
              </p:cNvSpPr>
              <p:nvPr userDrawn="1"/>
            </p:nvSpPr>
            <p:spPr bwMode="gray">
              <a:xfrm>
                <a:off x="2293620" y="5988118"/>
                <a:ext cx="57150" cy="107882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08" name="Rectangle 26"/>
              <p:cNvSpPr>
                <a:spLocks noChangeArrowheads="1"/>
              </p:cNvSpPr>
              <p:nvPr userDrawn="1"/>
            </p:nvSpPr>
            <p:spPr bwMode="gray">
              <a:xfrm>
                <a:off x="2132171" y="5757333"/>
                <a:ext cx="44291" cy="6691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09" name="Rectangle 27"/>
              <p:cNvSpPr>
                <a:spLocks noChangeArrowheads="1"/>
              </p:cNvSpPr>
              <p:nvPr userDrawn="1"/>
            </p:nvSpPr>
            <p:spPr bwMode="gray">
              <a:xfrm>
                <a:off x="1905000" y="5715000"/>
                <a:ext cx="227171" cy="42333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0" name="Rectangle 28"/>
              <p:cNvSpPr>
                <a:spLocks noChangeArrowheads="1"/>
              </p:cNvSpPr>
              <p:nvPr userDrawn="1"/>
            </p:nvSpPr>
            <p:spPr bwMode="gray">
              <a:xfrm>
                <a:off x="1905000" y="5757333"/>
                <a:ext cx="227171" cy="6691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1" name="Rectangle 29"/>
              <p:cNvSpPr>
                <a:spLocks noChangeArrowheads="1"/>
              </p:cNvSpPr>
              <p:nvPr userDrawn="1"/>
            </p:nvSpPr>
            <p:spPr bwMode="gray">
              <a:xfrm>
                <a:off x="2176462" y="5824247"/>
                <a:ext cx="117158" cy="163871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2" name="Rectangle 30"/>
              <p:cNvSpPr>
                <a:spLocks noChangeArrowheads="1"/>
              </p:cNvSpPr>
              <p:nvPr userDrawn="1"/>
            </p:nvSpPr>
            <p:spPr bwMode="gray">
              <a:xfrm>
                <a:off x="2176462" y="5988118"/>
                <a:ext cx="117158" cy="107882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3" name="Rectangle 31"/>
              <p:cNvSpPr>
                <a:spLocks noChangeArrowheads="1"/>
              </p:cNvSpPr>
              <p:nvPr userDrawn="1"/>
            </p:nvSpPr>
            <p:spPr bwMode="gray">
              <a:xfrm>
                <a:off x="2132171" y="5824247"/>
                <a:ext cx="44291" cy="163871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4" name="Rectangle 32"/>
              <p:cNvSpPr>
                <a:spLocks noChangeArrowheads="1"/>
              </p:cNvSpPr>
              <p:nvPr userDrawn="1"/>
            </p:nvSpPr>
            <p:spPr bwMode="gray">
              <a:xfrm>
                <a:off x="2132171" y="5988118"/>
                <a:ext cx="44291" cy="107882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5" name="Freeform 33"/>
              <p:cNvSpPr>
                <a:spLocks/>
              </p:cNvSpPr>
              <p:nvPr userDrawn="1"/>
            </p:nvSpPr>
            <p:spPr bwMode="gray">
              <a:xfrm>
                <a:off x="1905000" y="5824247"/>
                <a:ext cx="227171" cy="1638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9" y="0"/>
                  </a:cxn>
                  <a:cxn ang="0">
                    <a:pos x="159" y="120"/>
                  </a:cxn>
                  <a:cxn ang="0">
                    <a:pos x="99" y="120"/>
                  </a:cxn>
                  <a:cxn ang="0">
                    <a:pos x="99" y="80"/>
                  </a:cxn>
                  <a:cxn ang="0">
                    <a:pos x="0" y="80"/>
                  </a:cxn>
                  <a:cxn ang="0">
                    <a:pos x="0" y="0"/>
                  </a:cxn>
                </a:cxnLst>
                <a:rect l="0" t="0" r="r" b="b"/>
                <a:pathLst>
                  <a:path w="159" h="12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6" name="Rectangle 34"/>
              <p:cNvSpPr>
                <a:spLocks noChangeArrowheads="1"/>
              </p:cNvSpPr>
              <p:nvPr userDrawn="1"/>
            </p:nvSpPr>
            <p:spPr bwMode="gray">
              <a:xfrm>
                <a:off x="2046446" y="5988118"/>
                <a:ext cx="85725" cy="107882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7" name="Rectangle 35"/>
              <p:cNvSpPr>
                <a:spLocks noChangeArrowheads="1"/>
              </p:cNvSpPr>
              <p:nvPr userDrawn="1"/>
            </p:nvSpPr>
            <p:spPr bwMode="gray">
              <a:xfrm>
                <a:off x="1905000" y="5933495"/>
                <a:ext cx="141446" cy="54624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8" name="Rectangle 36"/>
              <p:cNvSpPr>
                <a:spLocks noChangeArrowheads="1"/>
              </p:cNvSpPr>
              <p:nvPr userDrawn="1"/>
            </p:nvSpPr>
            <p:spPr bwMode="gray">
              <a:xfrm>
                <a:off x="1905000" y="5988118"/>
                <a:ext cx="141446" cy="107882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9" name="Rectangle 25"/>
              <p:cNvSpPr>
                <a:spLocks noChangeArrowheads="1"/>
              </p:cNvSpPr>
              <p:nvPr/>
            </p:nvSpPr>
            <p:spPr bwMode="gray">
              <a:xfrm>
                <a:off x="2293620" y="5988118"/>
                <a:ext cx="57150" cy="107882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0" name="Rectangle 26"/>
              <p:cNvSpPr>
                <a:spLocks noChangeArrowheads="1"/>
              </p:cNvSpPr>
              <p:nvPr/>
            </p:nvSpPr>
            <p:spPr bwMode="gray">
              <a:xfrm>
                <a:off x="2132171" y="5757333"/>
                <a:ext cx="44291" cy="6691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1" name="Rectangle 27"/>
              <p:cNvSpPr>
                <a:spLocks noChangeArrowheads="1"/>
              </p:cNvSpPr>
              <p:nvPr/>
            </p:nvSpPr>
            <p:spPr bwMode="gray">
              <a:xfrm>
                <a:off x="1905000" y="5715000"/>
                <a:ext cx="227171" cy="42333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2" name="Rectangle 28"/>
              <p:cNvSpPr>
                <a:spLocks noChangeArrowheads="1"/>
              </p:cNvSpPr>
              <p:nvPr/>
            </p:nvSpPr>
            <p:spPr bwMode="gray">
              <a:xfrm>
                <a:off x="1905000" y="5757333"/>
                <a:ext cx="227171" cy="6691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3" name="Rectangle 29"/>
              <p:cNvSpPr>
                <a:spLocks noChangeArrowheads="1"/>
              </p:cNvSpPr>
              <p:nvPr/>
            </p:nvSpPr>
            <p:spPr bwMode="gray">
              <a:xfrm>
                <a:off x="2176462" y="5824247"/>
                <a:ext cx="117158" cy="163871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4" name="Rectangle 30"/>
              <p:cNvSpPr>
                <a:spLocks noChangeArrowheads="1"/>
              </p:cNvSpPr>
              <p:nvPr/>
            </p:nvSpPr>
            <p:spPr bwMode="gray">
              <a:xfrm>
                <a:off x="2176462" y="5988118"/>
                <a:ext cx="117158" cy="107882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5" name="Rectangle 31"/>
              <p:cNvSpPr>
                <a:spLocks noChangeArrowheads="1"/>
              </p:cNvSpPr>
              <p:nvPr/>
            </p:nvSpPr>
            <p:spPr bwMode="gray">
              <a:xfrm>
                <a:off x="2132171" y="5824247"/>
                <a:ext cx="44291" cy="163871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6" name="Rectangle 32"/>
              <p:cNvSpPr>
                <a:spLocks noChangeArrowheads="1"/>
              </p:cNvSpPr>
              <p:nvPr/>
            </p:nvSpPr>
            <p:spPr bwMode="gray">
              <a:xfrm>
                <a:off x="2132171" y="5988118"/>
                <a:ext cx="44291" cy="107882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7" name="Freeform 33"/>
              <p:cNvSpPr>
                <a:spLocks/>
              </p:cNvSpPr>
              <p:nvPr/>
            </p:nvSpPr>
            <p:spPr bwMode="gray">
              <a:xfrm>
                <a:off x="1905000" y="5824247"/>
                <a:ext cx="227171" cy="1638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9" y="0"/>
                  </a:cxn>
                  <a:cxn ang="0">
                    <a:pos x="159" y="120"/>
                  </a:cxn>
                  <a:cxn ang="0">
                    <a:pos x="99" y="120"/>
                  </a:cxn>
                  <a:cxn ang="0">
                    <a:pos x="99" y="80"/>
                  </a:cxn>
                  <a:cxn ang="0">
                    <a:pos x="0" y="80"/>
                  </a:cxn>
                  <a:cxn ang="0">
                    <a:pos x="0" y="0"/>
                  </a:cxn>
                </a:cxnLst>
                <a:rect l="0" t="0" r="r" b="b"/>
                <a:pathLst>
                  <a:path w="159" h="12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8" name="Rectangle 34"/>
              <p:cNvSpPr>
                <a:spLocks noChangeArrowheads="1"/>
              </p:cNvSpPr>
              <p:nvPr/>
            </p:nvSpPr>
            <p:spPr bwMode="gray">
              <a:xfrm>
                <a:off x="2046446" y="5988118"/>
                <a:ext cx="85725" cy="107882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9" name="Rectangle 35"/>
              <p:cNvSpPr>
                <a:spLocks noChangeArrowheads="1"/>
              </p:cNvSpPr>
              <p:nvPr/>
            </p:nvSpPr>
            <p:spPr bwMode="gray">
              <a:xfrm>
                <a:off x="1905000" y="5933495"/>
                <a:ext cx="141446" cy="54624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30" name="Rectangle 36"/>
              <p:cNvSpPr>
                <a:spLocks noChangeArrowheads="1"/>
              </p:cNvSpPr>
              <p:nvPr/>
            </p:nvSpPr>
            <p:spPr bwMode="gray">
              <a:xfrm>
                <a:off x="1905000" y="5988118"/>
                <a:ext cx="141446" cy="107882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</p:grpSp>
        <p:grpSp>
          <p:nvGrpSpPr>
            <p:cNvPr id="104" name="Group 32"/>
            <p:cNvGrpSpPr/>
            <p:nvPr/>
          </p:nvGrpSpPr>
          <p:grpSpPr>
            <a:xfrm>
              <a:off x="518032" y="978681"/>
              <a:ext cx="4572000" cy="2667393"/>
              <a:chOff x="518032" y="978681"/>
              <a:chExt cx="4572000" cy="2667393"/>
            </a:xfrm>
          </p:grpSpPr>
          <p:sp>
            <p:nvSpPr>
              <p:cNvPr id="105" name="Rectangle 37"/>
              <p:cNvSpPr>
                <a:spLocks noChangeArrowheads="1"/>
              </p:cNvSpPr>
              <p:nvPr userDrawn="1"/>
            </p:nvSpPr>
            <p:spPr bwMode="black">
              <a:xfrm>
                <a:off x="3295650" y="978681"/>
                <a:ext cx="1143000" cy="263229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06" name="Freeform 7"/>
              <p:cNvSpPr>
                <a:spLocks noEditPoints="1"/>
              </p:cNvSpPr>
              <p:nvPr userDrawn="1"/>
            </p:nvSpPr>
            <p:spPr bwMode="black">
              <a:xfrm>
                <a:off x="518032" y="1922794"/>
                <a:ext cx="4572000" cy="1723280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</p:grp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 userDrawn="1"/>
        </p:nvGrpSpPr>
        <p:grpSpPr bwMode="gray">
          <a:xfrm>
            <a:off x="1752601" y="5"/>
            <a:ext cx="7391400" cy="6176009"/>
            <a:chOff x="19140488" y="13674"/>
            <a:chExt cx="7443798" cy="6145827"/>
          </a:xfrm>
        </p:grpSpPr>
        <p:sp>
          <p:nvSpPr>
            <p:cNvPr id="35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6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7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3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4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8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9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50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51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52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sp>
        <p:nvSpPr>
          <p:cNvPr id="31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609601" y="3048000"/>
            <a:ext cx="914400" cy="762000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grpSp>
        <p:nvGrpSpPr>
          <p:cNvPr id="3" name="Group 31"/>
          <p:cNvGrpSpPr/>
          <p:nvPr/>
        </p:nvGrpSpPr>
        <p:grpSpPr>
          <a:xfrm>
            <a:off x="489088" y="2901701"/>
            <a:ext cx="1209752" cy="151219"/>
            <a:chOff x="489087" y="2521685"/>
            <a:chExt cx="1209752" cy="151219"/>
          </a:xfrm>
        </p:grpSpPr>
        <p:cxnSp>
          <p:nvCxnSpPr>
            <p:cNvPr id="33" name="Straight Connector 32"/>
            <p:cNvCxnSpPr/>
            <p:nvPr userDrawn="1"/>
          </p:nvCxnSpPr>
          <p:spPr>
            <a:xfrm rot="10800000">
              <a:off x="489087" y="2521686"/>
              <a:ext cx="1209752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rot="5400000">
              <a:off x="413478" y="2597295"/>
              <a:ext cx="151219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95477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altLang="zh-CN" noProof="0" dirty="0" smtClean="0"/>
              <a:t>Click to add the presentation’s main title</a:t>
            </a:r>
            <a:endParaRPr lang="zh-CN" altLang="en-US" noProof="0" dirty="0"/>
          </a:p>
        </p:txBody>
      </p:sp>
      <p:sp>
        <p:nvSpPr>
          <p:cNvPr id="4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95477" y="1828803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altLang="zh-CN" noProof="0" dirty="0" smtClean="0"/>
              <a:t>Subtitle and date (move higher if title is only one line)</a:t>
            </a:r>
          </a:p>
        </p:txBody>
      </p:sp>
      <p:sp>
        <p:nvSpPr>
          <p:cNvPr id="47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altLang="zh-CN" noProof="0" dirty="0" err="1" smtClean="0"/>
              <a:t>www.pwc.com</a:t>
            </a:r>
            <a:endParaRPr lang="zh-CN" altLang="en-US" noProof="0" dirty="0"/>
          </a:p>
        </p:txBody>
      </p:sp>
      <p:grpSp>
        <p:nvGrpSpPr>
          <p:cNvPr id="96" name="Group 32"/>
          <p:cNvGrpSpPr/>
          <p:nvPr/>
        </p:nvGrpSpPr>
        <p:grpSpPr>
          <a:xfrm>
            <a:off x="968592" y="6170995"/>
            <a:ext cx="914400" cy="533479"/>
            <a:chOff x="518032" y="978681"/>
            <a:chExt cx="4572000" cy="2667393"/>
          </a:xfrm>
        </p:grpSpPr>
        <p:sp>
          <p:nvSpPr>
            <p:cNvPr id="9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98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/>
          <p:cNvGrpSpPr/>
          <p:nvPr userDrawn="1"/>
        </p:nvGrpSpPr>
        <p:grpSpPr bwMode="gray">
          <a:xfrm>
            <a:off x="1752601" y="5"/>
            <a:ext cx="7391400" cy="6176009"/>
            <a:chOff x="19140488" y="13674"/>
            <a:chExt cx="7443798" cy="6145827"/>
          </a:xfrm>
        </p:grpSpPr>
        <p:sp>
          <p:nvSpPr>
            <p:cNvPr id="28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9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0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1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2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3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0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1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2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3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4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sp>
        <p:nvSpPr>
          <p:cNvPr id="54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95477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altLang="zh-CN" noProof="0" dirty="0" smtClean="0"/>
              <a:t>Click to add the presentation’s main title</a:t>
            </a:r>
            <a:endParaRPr lang="zh-CN" altLang="en-US" noProof="0" dirty="0"/>
          </a:p>
        </p:txBody>
      </p:sp>
      <p:sp>
        <p:nvSpPr>
          <p:cNvPr id="55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95477" y="1828803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altLang="zh-CN" noProof="0" dirty="0" smtClean="0"/>
              <a:t>Subtitle and date (move higher if title is only one line)</a:t>
            </a:r>
          </a:p>
        </p:txBody>
      </p:sp>
      <p:sp>
        <p:nvSpPr>
          <p:cNvPr id="56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altLang="zh-CN" noProof="0" dirty="0" err="1" smtClean="0"/>
              <a:t>www.pwc.com</a:t>
            </a:r>
            <a:endParaRPr lang="zh-CN" altLang="en-US" noProof="0" dirty="0"/>
          </a:p>
        </p:txBody>
      </p:sp>
      <p:sp>
        <p:nvSpPr>
          <p:cNvPr id="17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1752600" y="2899981"/>
            <a:ext cx="6324600" cy="3272223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grpSp>
        <p:nvGrpSpPr>
          <p:cNvPr id="18" name="Group 32"/>
          <p:cNvGrpSpPr/>
          <p:nvPr userDrawn="1"/>
        </p:nvGrpSpPr>
        <p:grpSpPr>
          <a:xfrm>
            <a:off x="968592" y="6170995"/>
            <a:ext cx="914400" cy="533479"/>
            <a:chOff x="518032" y="978681"/>
            <a:chExt cx="4572000" cy="2667393"/>
          </a:xfrm>
        </p:grpSpPr>
        <p:sp>
          <p:nvSpPr>
            <p:cNvPr id="19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21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1752600"/>
            <a:ext cx="80772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32" name="PwCFirm"/>
          <p:cNvSpPr txBox="1"/>
          <p:nvPr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altLang="zh-CN" sz="1000" noProof="0" smtClean="0"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PwC</a:t>
            </a:r>
            <a:endParaRPr lang="zh-CN" altLang="en-US" sz="1000" noProof="0" dirty="0"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cxnSp>
        <p:nvCxnSpPr>
          <p:cNvPr id="15" name="Shape 14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tangle 649"/>
          <p:cNvSpPr>
            <a:spLocks noChangeArrowheads="1"/>
          </p:cNvSpPr>
          <p:nvPr/>
        </p:nvSpPr>
        <p:spPr bwMode="gray">
          <a:xfrm>
            <a:off x="7391400" y="685804"/>
            <a:ext cx="1752600" cy="548639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 noProof="0" dirty="0"/>
          </a:p>
        </p:txBody>
      </p:sp>
      <p:sp>
        <p:nvSpPr>
          <p:cNvPr id="81" name="Rectangle 648"/>
          <p:cNvSpPr>
            <a:spLocks noChangeArrowheads="1"/>
          </p:cNvSpPr>
          <p:nvPr/>
        </p:nvSpPr>
        <p:spPr bwMode="gray">
          <a:xfrm>
            <a:off x="1752600" y="0"/>
            <a:ext cx="5638800" cy="6858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 noProof="0" dirty="0"/>
          </a:p>
        </p:txBody>
      </p:sp>
      <p:sp>
        <p:nvSpPr>
          <p:cNvPr id="83" name="Rectangle 650"/>
          <p:cNvSpPr>
            <a:spLocks noChangeArrowheads="1"/>
          </p:cNvSpPr>
          <p:nvPr/>
        </p:nvSpPr>
        <p:spPr bwMode="gray">
          <a:xfrm>
            <a:off x="1752600" y="685800"/>
            <a:ext cx="5638800" cy="5486400"/>
          </a:xfrm>
          <a:prstGeom prst="rect">
            <a:avLst/>
          </a:prstGeom>
          <a:solidFill>
            <a:schemeClr val="tx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 sz="1800" noProof="0" dirty="0"/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95477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altLang="zh-CN" noProof="0" dirty="0" smtClean="0"/>
              <a:t>Click to add the presentation’s main title</a:t>
            </a:r>
            <a:endParaRPr lang="zh-CN" altLang="en-US" noProof="0" dirty="0"/>
          </a:p>
        </p:txBody>
      </p:sp>
      <p:sp>
        <p:nvSpPr>
          <p:cNvPr id="51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95477" y="1828803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89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377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566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754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94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131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32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altLang="zh-CN" noProof="0" dirty="0" smtClean="0"/>
              <a:t>Subtitle and date (move higher if title is only one line)</a:t>
            </a:r>
          </a:p>
        </p:txBody>
      </p:sp>
      <p:sp>
        <p:nvSpPr>
          <p:cNvPr id="52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altLang="zh-CN" noProof="0" dirty="0" err="1" smtClean="0"/>
              <a:t>www.pwc.com</a:t>
            </a:r>
            <a:endParaRPr lang="zh-CN" altLang="en-US" noProof="0" dirty="0"/>
          </a:p>
        </p:txBody>
      </p:sp>
      <p:grpSp>
        <p:nvGrpSpPr>
          <p:cNvPr id="11" name="Group 32"/>
          <p:cNvGrpSpPr/>
          <p:nvPr userDrawn="1"/>
        </p:nvGrpSpPr>
        <p:grpSpPr>
          <a:xfrm>
            <a:off x="968592" y="6170995"/>
            <a:ext cx="914400" cy="533479"/>
            <a:chOff x="518032" y="978681"/>
            <a:chExt cx="4572000" cy="2667393"/>
          </a:xfrm>
        </p:grpSpPr>
        <p:sp>
          <p:nvSpPr>
            <p:cNvPr id="12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chemeClr val="tx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0" y="5867400"/>
            <a:ext cx="4800600" cy="762000"/>
          </a:xfrm>
        </p:spPr>
        <p:txBody>
          <a:bodyPr anchor="b"/>
          <a:lstStyle>
            <a:lvl1pPr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zh-CN" noProof="0" dirty="0" smtClean="0"/>
              <a:t>Add legal and copyright disclaimers here.</a:t>
            </a:r>
            <a:endParaRPr lang="zh-CN" altLang="en-US" noProof="0" dirty="0"/>
          </a:p>
        </p:txBody>
      </p:sp>
      <p:cxnSp>
        <p:nvCxnSpPr>
          <p:cNvPr id="7" name="Shape 6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3" name="Shape 2"/>
          <p:cNvCxnSpPr/>
          <p:nvPr userDrawn="1"/>
        </p:nvCxnSpPr>
        <p:spPr>
          <a:xfrm rot="5400000" flipH="1" flipV="1">
            <a:off x="4419606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91429" tIns="45714" rIns="91429" bIns="45714"/>
          <a:lstStyle/>
          <a:p>
            <a:r>
              <a:rPr lang="en-US" altLang="zh-CN" smtClean="0">
                <a:solidFill>
                  <a:srgbClr val="000000"/>
                </a:solidFill>
              </a:rPr>
              <a:t>2012</a:t>
            </a:r>
            <a:r>
              <a:rPr lang="zh-CN" altLang="en-US" smtClean="0">
                <a:solidFill>
                  <a:srgbClr val="000000"/>
                </a:solidFill>
              </a:rPr>
              <a:t>年</a:t>
            </a:r>
            <a:r>
              <a:rPr lang="en-US" altLang="zh-CN" smtClean="0">
                <a:solidFill>
                  <a:srgbClr val="000000"/>
                </a:solidFill>
              </a:rPr>
              <a:t>1</a:t>
            </a:r>
            <a:r>
              <a:rPr lang="zh-CN" altLang="en-US" smtClean="0">
                <a:solidFill>
                  <a:srgbClr val="000000"/>
                </a:solidFill>
              </a:rPr>
              <a:t>月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2DF778-1442-401B-B211-B5D1CD77277D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 smtClean="0">
                <a:solidFill>
                  <a:srgbClr val="000000"/>
                </a:solidFill>
              </a:rPr>
              <a:t>pwc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094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482138" y="1952517"/>
            <a:ext cx="4023360" cy="1879899"/>
          </a:xfrm>
        </p:spPr>
        <p:txBody>
          <a:bodyPr tIns="0" bIns="0"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4638502" y="1952517"/>
            <a:ext cx="4023360" cy="1879899"/>
          </a:xfrm>
        </p:spPr>
        <p:txBody>
          <a:bodyPr tIns="0" bIns="0"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482138" y="3969576"/>
            <a:ext cx="4023360" cy="1879899"/>
          </a:xfrm>
        </p:spPr>
        <p:txBody>
          <a:bodyPr tIns="0" bIns="0"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en-US" noProof="0" dirty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4638502" y="3969576"/>
            <a:ext cx="4023360" cy="1879899"/>
          </a:xfrm>
        </p:spPr>
        <p:txBody>
          <a:bodyPr tIns="0" bIns="0"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en-US" noProof="0" dirty="0"/>
          </a:p>
        </p:txBody>
      </p:sp>
      <p:sp>
        <p:nvSpPr>
          <p:cNvPr id="19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482139" y="750346"/>
            <a:ext cx="4987636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US" sz="800" noProof="0" dirty="0" smtClean="0">
              <a:solidFill>
                <a:schemeClr val="tx1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2999515" y="474679"/>
            <a:ext cx="5652655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800" noProof="0" dirty="0" smtClean="0"/>
              <a:t>2/24/2014 C:\Users\SiuFung Chan\Documents\Working\Projects\Ref\China\entry options.pptx</a:t>
            </a:r>
            <a:endParaRPr lang="en-US" sz="800" noProof="0" dirty="0"/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8296124" y="710008"/>
            <a:ext cx="35266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1100" noProof="0" dirty="0" smtClean="0"/>
              <a:t>Draft</a:t>
            </a:r>
            <a:endParaRPr lang="en-US" sz="1100" noProof="0" dirty="0"/>
          </a:p>
        </p:txBody>
      </p:sp>
      <p:sp>
        <p:nvSpPr>
          <p:cNvPr id="26" name="PwC Text"/>
          <p:cNvSpPr txBox="1"/>
          <p:nvPr userDrawn="1"/>
        </p:nvSpPr>
        <p:spPr>
          <a:xfrm>
            <a:off x="488979" y="6430384"/>
            <a:ext cx="249382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97"/>
              </a:lnSpc>
            </a:pPr>
            <a:r>
              <a:rPr lang="en-US" sz="800" noProof="0" dirty="0" smtClean="0">
                <a:latin typeface="+mn-lt"/>
                <a:cs typeface="Arial" pitchFamily="34" charset="0"/>
              </a:rPr>
              <a:t>PwC</a:t>
            </a:r>
            <a:endParaRPr lang="en-US" sz="800" noProof="0" dirty="0">
              <a:latin typeface="+mn-lt"/>
              <a:cs typeface="Arial" pitchFamily="34" charset="0"/>
            </a:endParaRPr>
          </a:p>
        </p:txBody>
      </p:sp>
      <p:sp>
        <p:nvSpPr>
          <p:cNvPr id="27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8361224" y="6430388"/>
            <a:ext cx="290945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97"/>
              </a:lnSpc>
            </a:pPr>
            <a:endParaRPr lang="en-US" sz="800" noProof="0" dirty="0" smtClean="0"/>
          </a:p>
        </p:txBody>
      </p:sp>
      <p:sp>
        <p:nvSpPr>
          <p:cNvPr id="29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488633" y="6296188"/>
            <a:ext cx="4015047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US" sz="800" noProof="0" dirty="0" smtClean="0">
              <a:solidFill>
                <a:schemeClr val="tx1"/>
              </a:solidFill>
            </a:endParaRPr>
          </a:p>
        </p:txBody>
      </p:sp>
      <p:sp>
        <p:nvSpPr>
          <p:cNvPr id="30" name="Executive Summary"/>
          <p:cNvSpPr txBox="1"/>
          <p:nvPr userDrawn="1">
            <p:custDataLst>
              <p:tags r:id="rId6"/>
            </p:custDataLst>
          </p:nvPr>
        </p:nvSpPr>
        <p:spPr>
          <a:xfrm>
            <a:off x="482138" y="6115722"/>
            <a:ext cx="1803863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36"/>
              </a:lnSpc>
            </a:pPr>
            <a:endParaRPr lang="en-US" sz="1400" noProof="0" dirty="0" smtClean="0">
              <a:solidFill>
                <a:schemeClr val="tx1"/>
              </a:solidFill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7986503" y="6301296"/>
            <a:ext cx="66685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6169" algn="r">
              <a:spcAft>
                <a:spcPts val="808"/>
              </a:spcAft>
            </a:pPr>
            <a:r>
              <a:rPr lang="en-US" sz="800" dirty="0" smtClean="0">
                <a:latin typeface="+mn-lt"/>
              </a:rPr>
              <a:t>February 2014</a:t>
            </a:r>
          </a:p>
        </p:txBody>
      </p:sp>
      <p:sp>
        <p:nvSpPr>
          <p:cNvPr id="33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88632" y="6179937"/>
            <a:ext cx="7340138" cy="12311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US" sz="800" dirty="0" smtClean="0"/>
          </a:p>
        </p:txBody>
      </p:sp>
      <p:sp>
        <p:nvSpPr>
          <p:cNvPr id="18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4638502" y="6419648"/>
            <a:ext cx="2951018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US" sz="800" noProof="0" dirty="0" smtClean="0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46366" y="941294"/>
            <a:ext cx="831272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Insert banner statemen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4671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533400" y="1752605"/>
            <a:ext cx="3962400" cy="4419599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648203" y="1752600"/>
            <a:ext cx="3962399" cy="44196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62" name="Shape 61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2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1"/>
            <a:ext cx="8077200" cy="914400"/>
          </a:xfrm>
        </p:spPr>
        <p:txBody>
          <a:bodyPr/>
          <a:lstStyle/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3"/>
          </p:nvPr>
        </p:nvSpPr>
        <p:spPr>
          <a:xfrm>
            <a:off x="533400" y="1752605"/>
            <a:ext cx="2590800" cy="4419599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3276603" y="1752605"/>
            <a:ext cx="2590799" cy="4419599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019800" y="1752605"/>
            <a:ext cx="2590800" cy="4419599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3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19" name="Shape 18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3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un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533400" y="3352800"/>
            <a:ext cx="3962400" cy="28194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648201" y="3352800"/>
            <a:ext cx="3962401" cy="28194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33400" y="1752600"/>
            <a:ext cx="8077200" cy="14478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5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Lef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6019800" y="1752600"/>
            <a:ext cx="2590800" cy="21336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019800" y="4038600"/>
            <a:ext cx="2590800" cy="21336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33400" y="1752600"/>
            <a:ext cx="5334000" cy="44196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5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533400" y="1752600"/>
            <a:ext cx="2590800" cy="21336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4038600"/>
            <a:ext cx="2590800" cy="21336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276600" y="1752600"/>
            <a:ext cx="5334000" cy="4419600"/>
          </a:xfrm>
        </p:spPr>
        <p:txBody>
          <a:bodyPr/>
          <a:lstStyle/>
          <a:p>
            <a:pPr lvl="0"/>
            <a:r>
              <a:rPr lang="en-US" altLang="zh-CN" noProof="0" dirty="0" smtClean="0"/>
              <a:t>Click to edit Master text styles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5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 wit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76600" y="685800"/>
            <a:ext cx="53340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noProof="1" smtClean="0"/>
              <a:t>Click to edit Master title style</a:t>
            </a:r>
            <a:endParaRPr lang="zh-CN" altLang="en-US" noProof="1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3276600" y="1752600"/>
            <a:ext cx="53340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altLang="zh-CN" noProof="1" smtClean="0"/>
              <a:t>Click to edit Master text styles</a:t>
            </a:r>
          </a:p>
          <a:p>
            <a:pPr lvl="1"/>
            <a:r>
              <a:rPr lang="en-US" altLang="zh-CN" noProof="1" smtClean="0"/>
              <a:t>Second level</a:t>
            </a:r>
          </a:p>
          <a:p>
            <a:pPr lvl="2"/>
            <a:r>
              <a:rPr lang="en-US" altLang="zh-CN" noProof="1" smtClean="0"/>
              <a:t>Third level</a:t>
            </a:r>
          </a:p>
          <a:p>
            <a:pPr lvl="3"/>
            <a:r>
              <a:rPr lang="en-US" altLang="zh-CN" noProof="1" smtClean="0"/>
              <a:t>Fourth level</a:t>
            </a:r>
          </a:p>
          <a:p>
            <a:pPr lvl="4"/>
            <a:r>
              <a:rPr lang="en-US" altLang="zh-CN" noProof="1" smtClean="0"/>
              <a:t>Fifth level</a:t>
            </a:r>
            <a:endParaRPr lang="zh-CN" altLang="en-US" noProof="1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33400" y="1752600"/>
            <a:ext cx="2590800" cy="2130552"/>
          </a:xfrm>
        </p:spPr>
        <p:txBody>
          <a:bodyPr/>
          <a:lstStyle>
            <a:lvl1pPr>
              <a:defRPr sz="2400" b="1" i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noProof="1" smtClean="0"/>
              <a:t>Click to edit Master text styles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30" name="Shape 29"/>
          <p:cNvCxnSpPr/>
          <p:nvPr/>
        </p:nvCxnSpPr>
        <p:spPr>
          <a:xfrm rot="5400000" flipH="1" flipV="1">
            <a:off x="5791203" y="-2057400"/>
            <a:ext cx="152399" cy="54864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3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altLang="zh-CN" noProof="0" dirty="0" smtClean="0"/>
              <a:t>Click to edit Master title style</a:t>
            </a:r>
            <a:endParaRPr lang="zh-CN" altLang="en-US" noProof="0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cxnSp>
        <p:nvCxnSpPr>
          <p:cNvPr id="10" name="Shape 9"/>
          <p:cNvCxnSpPr/>
          <p:nvPr/>
        </p:nvCxnSpPr>
        <p:spPr>
          <a:xfrm rot="5400000" flipH="1" flipV="1">
            <a:off x="4419603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11" name="PwCFirm"/>
          <p:cNvSpPr txBox="1"/>
          <p:nvPr userDrawn="1"/>
        </p:nvSpPr>
        <p:spPr>
          <a:xfrm>
            <a:off x="533400" y="64770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altLang="zh-CN" sz="1000" noProof="0" dirty="0" smtClean="0">
                <a:latin typeface="Arial" pitchFamily="34" charset="0"/>
                <a:cs typeface="Arial" pitchFamily="34" charset="0"/>
              </a:rPr>
              <a:t>PwC</a:t>
            </a:r>
            <a:endParaRPr lang="zh-CN" altLang="en-US" sz="1000" noProof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3402" y="685800"/>
            <a:ext cx="8077201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altLang="zh-CN" noProof="0" dirty="0" smtClean="0"/>
              <a:t>Click to edit</a:t>
            </a:r>
            <a:br>
              <a:rPr lang="en-US" altLang="zh-CN" noProof="0" dirty="0" smtClean="0"/>
            </a:br>
            <a:r>
              <a:rPr lang="en-US" altLang="zh-CN" noProof="0" dirty="0" smtClean="0"/>
              <a:t>Master title style</a:t>
            </a:r>
            <a:endParaRPr lang="zh-CN" alt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3" y="1752600"/>
            <a:ext cx="8077199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altLang="zh-CN" noProof="0" dirty="0" smtClean="0"/>
              <a:t>Click to edit Master text styles</a:t>
            </a:r>
          </a:p>
          <a:p>
            <a:pPr lvl="1"/>
            <a:r>
              <a:rPr lang="en-US" altLang="zh-CN" noProof="0" dirty="0" smtClean="0"/>
              <a:t>Second level</a:t>
            </a:r>
          </a:p>
          <a:p>
            <a:pPr lvl="2"/>
            <a:r>
              <a:rPr lang="en-US" altLang="zh-CN" noProof="0" dirty="0" smtClean="0"/>
              <a:t>Third level</a:t>
            </a:r>
          </a:p>
          <a:p>
            <a:pPr lvl="3"/>
            <a:r>
              <a:rPr lang="en-US" altLang="zh-CN" noProof="0" dirty="0" smtClean="0"/>
              <a:t>Fourth level</a:t>
            </a:r>
          </a:p>
          <a:p>
            <a:pPr lvl="4"/>
            <a:r>
              <a:rPr lang="en-US" altLang="zh-CN" noProof="0" dirty="0" smtClean="0"/>
              <a:t>Fifth level</a:t>
            </a:r>
            <a:endParaRPr lang="zh-CN" altLang="en-US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smtClean="0"/>
              <a:t>三月 </a:t>
            </a:r>
            <a:r>
              <a:rPr lang="en-US" altLang="zh-CN" smtClean="0"/>
              <a:t>2014</a:t>
            </a:r>
            <a:endParaRPr lang="zh-CN" alt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0352" y="6324600"/>
            <a:ext cx="5260848" cy="15087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  <p:sldLayoutId id="2147483667" r:id="rId17"/>
    <p:sldLayoutId id="2147483668" r:id="rId18"/>
    <p:sldLayoutId id="2147483669" r:id="rId19"/>
    <p:sldLayoutId id="2147483670" r:id="rId20"/>
    <p:sldLayoutId id="2147483671" r:id="rId21"/>
    <p:sldLayoutId id="2147483672" r:id="rId22"/>
    <p:sldLayoutId id="2147483673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4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377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Tx/>
        <a:buFontTx/>
        <a:buNone/>
        <a:tabLst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74313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548626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822939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097253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›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74313" marR="0" indent="-274313" algn="l" defTabSz="914377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548626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822939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74313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2.tif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2.tif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4" Type="http://schemas.openxmlformats.org/officeDocument/2006/relationships/tags" Target="../tags/tag14.xml"/><Relationship Id="rId5" Type="http://schemas.openxmlformats.org/officeDocument/2006/relationships/tags" Target="../tags/tag15.xml"/><Relationship Id="rId6" Type="http://schemas.openxmlformats.org/officeDocument/2006/relationships/tags" Target="../tags/tag16.xml"/><Relationship Id="rId7" Type="http://schemas.openxmlformats.org/officeDocument/2006/relationships/tags" Target="../tags/tag17.xml"/><Relationship Id="rId8" Type="http://schemas.openxmlformats.org/officeDocument/2006/relationships/tags" Target="../tags/tag18.xml"/><Relationship Id="rId9" Type="http://schemas.openxmlformats.org/officeDocument/2006/relationships/slideLayout" Target="../slideLayouts/slideLayout22.xml"/><Relationship Id="rId10" Type="http://schemas.openxmlformats.org/officeDocument/2006/relationships/notesSlide" Target="../notesSlides/notesSlide4.xml"/><Relationship Id="rId1" Type="http://schemas.openxmlformats.org/officeDocument/2006/relationships/tags" Target="../tags/tag11.xml"/><Relationship Id="rId2" Type="http://schemas.openxmlformats.org/officeDocument/2006/relationships/tags" Target="../tags/tag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4" Type="http://schemas.openxmlformats.org/officeDocument/2006/relationships/notesSlide" Target="../notesSlides/notesSlide6.xml"/><Relationship Id="rId1" Type="http://schemas.openxmlformats.org/officeDocument/2006/relationships/tags" Target="../tags/tag19.xml"/><Relationship Id="rId2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00112"/>
            <a:ext cx="9144000" cy="5057775"/>
          </a:xfrm>
          <a:prstGeom prst="rect">
            <a:avLst/>
          </a:prstGeom>
        </p:spPr>
      </p:pic>
      <p:sp>
        <p:nvSpPr>
          <p:cNvPr id="4" name="Pentagon 3"/>
          <p:cNvSpPr/>
          <p:nvPr/>
        </p:nvSpPr>
        <p:spPr bwMode="ltGray">
          <a:xfrm>
            <a:off x="554727" y="447848"/>
            <a:ext cx="3963844" cy="452264"/>
          </a:xfrm>
          <a:prstGeom prst="homePlate">
            <a:avLst>
              <a:gd name="adj" fmla="val 0"/>
            </a:avLst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b="1" dirty="0" smtClean="0">
                <a:solidFill>
                  <a:schemeClr val="bg1"/>
                </a:solidFill>
                <a:latin typeface="Georgia" pitchFamily="18" charset="0"/>
              </a:rPr>
              <a:t>Project</a:t>
            </a:r>
            <a:r>
              <a:rPr lang="zh-CN" altLang="en-US" b="1" dirty="0" smtClean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US" altLang="zh-CN" b="1" dirty="0" smtClean="0">
                <a:solidFill>
                  <a:schemeClr val="bg1"/>
                </a:solidFill>
                <a:latin typeface="Georgia" pitchFamily="18" charset="0"/>
              </a:rPr>
              <a:t>2:</a:t>
            </a:r>
            <a:r>
              <a:rPr lang="zh-CN" altLang="en-US" b="1" dirty="0" smtClean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US" altLang="zh-CN" b="1" dirty="0" smtClean="0">
                <a:solidFill>
                  <a:schemeClr val="bg1"/>
                </a:solidFill>
                <a:latin typeface="Georgia" pitchFamily="18" charset="0"/>
              </a:rPr>
              <a:t>CAT</a:t>
            </a:r>
            <a:r>
              <a:rPr lang="zh-CN" altLang="en-US" b="1" dirty="0" smtClean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US" altLang="zh-CN" b="1" dirty="0" smtClean="0">
                <a:solidFill>
                  <a:schemeClr val="bg1"/>
                </a:solidFill>
                <a:latin typeface="Georgia" pitchFamily="18" charset="0"/>
              </a:rPr>
              <a:t>or</a:t>
            </a:r>
            <a:r>
              <a:rPr lang="zh-CN" altLang="en-US" b="1" dirty="0" smtClean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US" altLang="zh-CN" b="1" dirty="0" smtClean="0">
                <a:solidFill>
                  <a:schemeClr val="bg1"/>
                </a:solidFill>
                <a:latin typeface="Georgia" pitchFamily="18" charset="0"/>
              </a:rPr>
              <a:t>DOG?</a:t>
            </a:r>
            <a:endParaRPr lang="en-GB" b="1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7" name="Pentagon 6"/>
          <p:cNvSpPr/>
          <p:nvPr/>
        </p:nvSpPr>
        <p:spPr bwMode="ltGray">
          <a:xfrm>
            <a:off x="5292080" y="5013176"/>
            <a:ext cx="3312368" cy="1584176"/>
          </a:xfrm>
          <a:prstGeom prst="homePlate">
            <a:avLst>
              <a:gd name="adj" fmla="val 0"/>
            </a:avLst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b="1" dirty="0" smtClean="0">
                <a:solidFill>
                  <a:schemeClr val="bg1"/>
                </a:solidFill>
                <a:latin typeface="Georgia" pitchFamily="18" charset="0"/>
              </a:rPr>
              <a:t>Group</a:t>
            </a:r>
            <a:r>
              <a:rPr lang="zh-CN" altLang="en-US" b="1" dirty="0" smtClean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US" altLang="zh-CN" b="1" dirty="0" smtClean="0">
                <a:solidFill>
                  <a:schemeClr val="bg1"/>
                </a:solidFill>
                <a:latin typeface="Georgia" pitchFamily="18" charset="0"/>
              </a:rPr>
              <a:t>Members:</a:t>
            </a:r>
          </a:p>
          <a:p>
            <a:r>
              <a:rPr lang="en-US" altLang="zh-CN" sz="16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Alek</a:t>
            </a:r>
            <a:r>
              <a:rPr lang="zh-CN" altLang="en-US" sz="16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altLang="zh-CN" sz="1600" b="1" dirty="0" err="1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Anichowski</a:t>
            </a:r>
            <a:endParaRPr lang="en-US" altLang="zh-CN" sz="1600" b="1" dirty="0" smtClean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  <a:p>
            <a:r>
              <a:rPr lang="en-US" altLang="zh-CN" sz="16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Keith James Rodriguez </a:t>
            </a:r>
            <a:endParaRPr lang="en-US" altLang="zh-CN" sz="1600" b="1" dirty="0" smtClean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  <a:p>
            <a:r>
              <a:rPr lang="en-US" altLang="zh-CN" sz="1600" b="1" dirty="0" err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Mingyue</a:t>
            </a:r>
            <a:r>
              <a:rPr lang="en-US" altLang="zh-CN" sz="16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Kong </a:t>
            </a:r>
            <a:endParaRPr lang="en-US" altLang="zh-CN" sz="1600" b="1" dirty="0" smtClean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  <a:p>
            <a:r>
              <a:rPr lang="en-US" altLang="zh-CN" sz="16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Sophie </a:t>
            </a:r>
            <a:r>
              <a:rPr lang="en-US" altLang="zh-CN" sz="1600" b="1" dirty="0" err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Beiers</a:t>
            </a:r>
            <a:r>
              <a:rPr lang="en-US" altLang="zh-CN" sz="16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 </a:t>
            </a:r>
          </a:p>
          <a:p>
            <a:r>
              <a:rPr lang="en-US" altLang="zh-CN" sz="16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Yun</a:t>
            </a:r>
            <a:r>
              <a:rPr lang="zh-CN" altLang="en-US" sz="16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altLang="zh-CN" sz="16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Li</a:t>
            </a:r>
            <a:endParaRPr lang="en-US" altLang="zh-CN" sz="16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7712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/>
        </p:nvPicPr>
        <p:blipFill>
          <a:blip r:embed="rId3">
            <a:alphaModFix amt="20000"/>
          </a:blip>
          <a:stretch>
            <a:fillRect/>
          </a:stretch>
        </p:blipFill>
        <p:spPr>
          <a:xfrm>
            <a:off x="0" y="900112"/>
            <a:ext cx="9144000" cy="5057775"/>
          </a:xfrm>
          <a:prstGeom prst="rect">
            <a:avLst/>
          </a:prstGeom>
        </p:spPr>
      </p:pic>
      <p:sp>
        <p:nvSpPr>
          <p:cNvPr id="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Table</a:t>
            </a:r>
            <a:r>
              <a:rPr lang="zh-CN" altLang="en-US" dirty="0" smtClean="0"/>
              <a:t> </a:t>
            </a:r>
            <a:r>
              <a:rPr lang="en-US" altLang="zh-CN" dirty="0" smtClean="0"/>
              <a:t>of</a:t>
            </a:r>
            <a:r>
              <a:rPr lang="zh-CN" altLang="en-US" dirty="0" smtClean="0"/>
              <a:t> </a:t>
            </a:r>
            <a:r>
              <a:rPr lang="en-US" altLang="zh-CN" dirty="0" smtClean="0"/>
              <a:t>Content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535404" y="2262356"/>
            <a:ext cx="4688072" cy="524272"/>
            <a:chOff x="535404" y="2276872"/>
            <a:chExt cx="4688072" cy="524272"/>
          </a:xfrm>
        </p:grpSpPr>
        <p:sp>
          <p:nvSpPr>
            <p:cNvPr id="7" name="Pentagon 6"/>
            <p:cNvSpPr/>
            <p:nvPr/>
          </p:nvSpPr>
          <p:spPr bwMode="ltGray">
            <a:xfrm>
              <a:off x="1259632" y="2348880"/>
              <a:ext cx="3963844" cy="452264"/>
            </a:xfrm>
            <a:prstGeom prst="homePlate">
              <a:avLst>
                <a:gd name="adj" fmla="val 0"/>
              </a:avLst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2000" b="1" dirty="0" smtClean="0">
                  <a:solidFill>
                    <a:schemeClr val="bg1"/>
                  </a:solidFill>
                  <a:latin typeface="Georgia" pitchFamily="18" charset="0"/>
                </a:rPr>
                <a:t>Feature</a:t>
              </a:r>
              <a:r>
                <a:rPr lang="zh-CN" altLang="en-US" sz="2000" b="1" dirty="0" smtClean="0">
                  <a:solidFill>
                    <a:schemeClr val="bg1"/>
                  </a:solidFill>
                  <a:latin typeface="Georgia" pitchFamily="18" charset="0"/>
                </a:rPr>
                <a:t> </a:t>
              </a:r>
              <a:r>
                <a:rPr lang="en-US" altLang="zh-CN" sz="2000" b="1" dirty="0" smtClean="0">
                  <a:solidFill>
                    <a:schemeClr val="bg1"/>
                  </a:solidFill>
                  <a:latin typeface="Georgia" pitchFamily="18" charset="0"/>
                </a:rPr>
                <a:t>Extraction</a:t>
              </a:r>
              <a:endParaRPr lang="en-GB" sz="2000" b="1" dirty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35404" y="2276872"/>
              <a:ext cx="720080" cy="52427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2800" b="1" i="1" dirty="0">
                  <a:solidFill>
                    <a:schemeClr val="accent5"/>
                  </a:solidFill>
                  <a:latin typeface="Georgia" pitchFamily="18" charset="0"/>
                </a:rPr>
                <a:t>02</a:t>
              </a:r>
              <a:endParaRPr lang="zh-CN" altLang="en-US" sz="2800" b="1" i="1" dirty="0" err="1">
                <a:solidFill>
                  <a:schemeClr val="accent5"/>
                </a:solidFill>
                <a:latin typeface="Georgia" pitchFamily="18" charset="0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535404" y="2842828"/>
            <a:ext cx="4688072" cy="544488"/>
            <a:chOff x="535404" y="2832720"/>
            <a:chExt cx="4688072" cy="544488"/>
          </a:xfrm>
        </p:grpSpPr>
        <p:sp>
          <p:nvSpPr>
            <p:cNvPr id="8" name="Pentagon 7"/>
            <p:cNvSpPr/>
            <p:nvPr/>
          </p:nvSpPr>
          <p:spPr bwMode="ltGray">
            <a:xfrm>
              <a:off x="1259632" y="2924944"/>
              <a:ext cx="3963844" cy="452264"/>
            </a:xfrm>
            <a:prstGeom prst="homePlate">
              <a:avLst>
                <a:gd name="adj" fmla="val 0"/>
              </a:avLst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2000" b="1" dirty="0" smtClean="0">
                  <a:solidFill>
                    <a:schemeClr val="bg1"/>
                  </a:solidFill>
                  <a:latin typeface="Georgia" pitchFamily="18" charset="0"/>
                </a:rPr>
                <a:t>Model</a:t>
              </a:r>
              <a:r>
                <a:rPr lang="zh-CN" altLang="en-US" sz="2000" b="1" dirty="0" smtClean="0">
                  <a:solidFill>
                    <a:schemeClr val="bg1"/>
                  </a:solidFill>
                  <a:latin typeface="Georgia" pitchFamily="18" charset="0"/>
                </a:rPr>
                <a:t> </a:t>
              </a:r>
              <a:r>
                <a:rPr lang="en-US" altLang="zh-CN" sz="2000" b="1" dirty="0" smtClean="0">
                  <a:solidFill>
                    <a:schemeClr val="bg1"/>
                  </a:solidFill>
                  <a:latin typeface="Georgia" pitchFamily="18" charset="0"/>
                </a:rPr>
                <a:t>Selection</a:t>
              </a:r>
              <a:endParaRPr lang="en-GB" sz="2000" b="1" dirty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535404" y="2832720"/>
              <a:ext cx="720080" cy="52427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2800" b="1" i="1" dirty="0">
                  <a:solidFill>
                    <a:schemeClr val="accent5"/>
                  </a:solidFill>
                  <a:latin typeface="Georgia" pitchFamily="18" charset="0"/>
                </a:rPr>
                <a:t>03</a:t>
              </a:r>
              <a:endParaRPr lang="zh-CN" altLang="en-US" sz="2800" b="1" i="1" dirty="0" err="1">
                <a:solidFill>
                  <a:schemeClr val="accent5"/>
                </a:solidFill>
                <a:latin typeface="Georgia" pitchFamily="18" charset="0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535404" y="3443516"/>
            <a:ext cx="4688072" cy="524272"/>
            <a:chOff x="535404" y="3429000"/>
            <a:chExt cx="4688072" cy="524272"/>
          </a:xfrm>
        </p:grpSpPr>
        <p:sp>
          <p:nvSpPr>
            <p:cNvPr id="9" name="Pentagon 8"/>
            <p:cNvSpPr/>
            <p:nvPr/>
          </p:nvSpPr>
          <p:spPr bwMode="ltGray">
            <a:xfrm>
              <a:off x="1259632" y="3501008"/>
              <a:ext cx="3963844" cy="452264"/>
            </a:xfrm>
            <a:prstGeom prst="homePlate">
              <a:avLst>
                <a:gd name="adj" fmla="val 0"/>
              </a:avLst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2000" b="1" dirty="0" smtClean="0">
                  <a:solidFill>
                    <a:schemeClr val="bg1"/>
                  </a:solidFill>
                  <a:latin typeface="Georgia" pitchFamily="18" charset="0"/>
                </a:rPr>
                <a:t>Best</a:t>
              </a:r>
              <a:r>
                <a:rPr lang="zh-CN" altLang="en-US" sz="2000" b="1" dirty="0" smtClean="0">
                  <a:solidFill>
                    <a:schemeClr val="bg1"/>
                  </a:solidFill>
                  <a:latin typeface="Georgia" pitchFamily="18" charset="0"/>
                </a:rPr>
                <a:t> </a:t>
              </a:r>
              <a:r>
                <a:rPr lang="en-US" altLang="zh-CN" sz="2000" b="1" dirty="0" smtClean="0">
                  <a:solidFill>
                    <a:schemeClr val="bg1"/>
                  </a:solidFill>
                  <a:latin typeface="Georgia" pitchFamily="18" charset="0"/>
                </a:rPr>
                <a:t>three</a:t>
              </a:r>
              <a:r>
                <a:rPr lang="zh-CN" altLang="en-US" sz="2000" b="1" dirty="0" smtClean="0">
                  <a:solidFill>
                    <a:schemeClr val="bg1"/>
                  </a:solidFill>
                  <a:latin typeface="Georgia" pitchFamily="18" charset="0"/>
                </a:rPr>
                <a:t> </a:t>
              </a:r>
              <a:r>
                <a:rPr lang="en-US" altLang="zh-CN" sz="2000" b="1" dirty="0" smtClean="0">
                  <a:solidFill>
                    <a:schemeClr val="bg1"/>
                  </a:solidFill>
                  <a:latin typeface="Georgia" pitchFamily="18" charset="0"/>
                </a:rPr>
                <a:t>Models</a:t>
              </a:r>
              <a:endParaRPr lang="en-GB" sz="2000" b="1" dirty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35404" y="3429000"/>
              <a:ext cx="720080" cy="52427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2800" b="1" i="1" dirty="0">
                  <a:solidFill>
                    <a:schemeClr val="accent5"/>
                  </a:solidFill>
                  <a:latin typeface="Georgia" pitchFamily="18" charset="0"/>
                </a:rPr>
                <a:t>04</a:t>
              </a:r>
              <a:endParaRPr lang="zh-CN" altLang="en-US" sz="2800" b="1" i="1" dirty="0" err="1">
                <a:solidFill>
                  <a:schemeClr val="accent5"/>
                </a:solidFill>
                <a:latin typeface="Georgia" pitchFamily="18" charset="0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535406" y="1680593"/>
            <a:ext cx="4702095" cy="525564"/>
            <a:chOff x="535404" y="1680592"/>
            <a:chExt cx="4702094" cy="525564"/>
          </a:xfrm>
        </p:grpSpPr>
        <p:sp>
          <p:nvSpPr>
            <p:cNvPr id="17" name="Pentagon 16"/>
            <p:cNvSpPr/>
            <p:nvPr/>
          </p:nvSpPr>
          <p:spPr bwMode="ltGray">
            <a:xfrm>
              <a:off x="1273654" y="1753892"/>
              <a:ext cx="3963844" cy="452264"/>
            </a:xfrm>
            <a:prstGeom prst="homePlate">
              <a:avLst>
                <a:gd name="adj" fmla="val 0"/>
              </a:avLst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2000" b="1" dirty="0" smtClean="0">
                  <a:solidFill>
                    <a:schemeClr val="bg1"/>
                  </a:solidFill>
                  <a:latin typeface="Georgia" pitchFamily="18" charset="0"/>
                </a:rPr>
                <a:t>Project</a:t>
              </a:r>
              <a:r>
                <a:rPr lang="zh-CN" altLang="en-US" sz="2000" b="1" dirty="0" smtClean="0">
                  <a:solidFill>
                    <a:schemeClr val="bg1"/>
                  </a:solidFill>
                  <a:latin typeface="Georgia" pitchFamily="18" charset="0"/>
                </a:rPr>
                <a:t> </a:t>
              </a:r>
              <a:r>
                <a:rPr lang="en-US" altLang="zh-CN" sz="2000" b="1" dirty="0" smtClean="0">
                  <a:solidFill>
                    <a:schemeClr val="bg1"/>
                  </a:solidFill>
                  <a:latin typeface="Georgia" pitchFamily="18" charset="0"/>
                </a:rPr>
                <a:t>Overview</a:t>
              </a:r>
              <a:endParaRPr lang="en-GB" sz="2000" b="1" dirty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535404" y="1680592"/>
              <a:ext cx="720080" cy="52427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>
              <a:defPPr>
                <a:defRPr lang="en-US"/>
              </a:defPPr>
              <a:lvl1pPr>
                <a:spcAft>
                  <a:spcPts val="900"/>
                </a:spcAft>
                <a:defRPr sz="2800" b="1" i="1">
                  <a:solidFill>
                    <a:schemeClr val="bg1">
                      <a:lumMod val="85000"/>
                    </a:schemeClr>
                  </a:solidFill>
                  <a:latin typeface="Georgia" pitchFamily="18" charset="0"/>
                </a:defRPr>
              </a:lvl1pPr>
            </a:lstStyle>
            <a:p>
              <a:r>
                <a:rPr lang="en-US" altLang="zh-CN">
                  <a:solidFill>
                    <a:schemeClr val="accent5"/>
                  </a:solidFill>
                </a:rPr>
                <a:t>01</a:t>
              </a:r>
              <a:endParaRPr lang="zh-CN" altLang="en-US" dirty="0" err="1">
                <a:solidFill>
                  <a:schemeClr val="accent5"/>
                </a:solidFill>
              </a:endParaRPr>
            </a:p>
          </p:txBody>
        </p:sp>
      </p:grpSp>
      <p:sp>
        <p:nvSpPr>
          <p:cNvPr id="18" name="Pentagon 17"/>
          <p:cNvSpPr/>
          <p:nvPr/>
        </p:nvSpPr>
        <p:spPr bwMode="ltGray">
          <a:xfrm>
            <a:off x="1273657" y="4085887"/>
            <a:ext cx="3963844" cy="452264"/>
          </a:xfrm>
          <a:prstGeom prst="homePlate">
            <a:avLst>
              <a:gd name="adj" fmla="val 0"/>
            </a:avLst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000" b="1" dirty="0" smtClean="0">
                <a:solidFill>
                  <a:schemeClr val="bg1"/>
                </a:solidFill>
                <a:latin typeface="Georgia" pitchFamily="18" charset="0"/>
              </a:rPr>
              <a:t>Proposed</a:t>
            </a:r>
            <a:r>
              <a:rPr lang="zh-CN" altLang="en-US" sz="2000" b="1" dirty="0" smtClean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US" altLang="zh-CN" sz="2000" b="1" dirty="0" smtClean="0">
                <a:solidFill>
                  <a:schemeClr val="bg1"/>
                </a:solidFill>
                <a:latin typeface="Georgia" pitchFamily="18" charset="0"/>
              </a:rPr>
              <a:t>Model</a:t>
            </a:r>
            <a:endParaRPr lang="en-GB" sz="2000" b="1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49429" y="4013879"/>
            <a:ext cx="720080" cy="52427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spcAft>
                <a:spcPts val="900"/>
              </a:spcAft>
            </a:pPr>
            <a:r>
              <a:rPr lang="en-US" altLang="zh-CN" sz="2800" b="1" i="1" dirty="0" smtClean="0">
                <a:solidFill>
                  <a:schemeClr val="accent5"/>
                </a:solidFill>
                <a:latin typeface="Georgia" pitchFamily="18" charset="0"/>
              </a:rPr>
              <a:t>05</a:t>
            </a:r>
            <a:endParaRPr lang="zh-CN" altLang="en-US" sz="2800" b="1" i="1" dirty="0" err="1">
              <a:solidFill>
                <a:schemeClr val="accent5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8492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1.</a:t>
            </a:r>
            <a:r>
              <a:rPr lang="zh-CN" altLang="en-US" dirty="0" smtClean="0"/>
              <a:t> </a:t>
            </a:r>
            <a:r>
              <a:rPr lang="en-US" altLang="zh-CN" dirty="0" smtClean="0"/>
              <a:t>Project</a:t>
            </a:r>
            <a:r>
              <a:rPr lang="zh-CN" altLang="en-US" dirty="0" smtClean="0"/>
              <a:t> </a:t>
            </a:r>
            <a:r>
              <a:rPr lang="en-US" altLang="zh-CN" dirty="0" smtClean="0"/>
              <a:t>Overview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Parallelogram 10"/>
          <p:cNvSpPr/>
          <p:nvPr/>
        </p:nvSpPr>
        <p:spPr bwMode="ltGray">
          <a:xfrm flipH="1">
            <a:off x="1106181" y="2294842"/>
            <a:ext cx="3280793" cy="3877361"/>
          </a:xfrm>
          <a:prstGeom prst="parallelogram">
            <a:avLst>
              <a:gd name="adj" fmla="val 77827"/>
            </a:avLst>
          </a:prstGeom>
          <a:solidFill>
            <a:srgbClr val="968C6D">
              <a:alpha val="3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131456" y="2348880"/>
            <a:ext cx="4034848" cy="720080"/>
            <a:chOff x="1131453" y="2348879"/>
            <a:chExt cx="4034848" cy="720080"/>
          </a:xfrm>
        </p:grpSpPr>
        <p:sp>
          <p:nvSpPr>
            <p:cNvPr id="12" name="Rectangle 2"/>
            <p:cNvSpPr/>
            <p:nvPr/>
          </p:nvSpPr>
          <p:spPr bwMode="ltGray">
            <a:xfrm>
              <a:off x="1131453" y="2348879"/>
              <a:ext cx="4016608" cy="720080"/>
            </a:xfrm>
            <a:custGeom>
              <a:avLst/>
              <a:gdLst>
                <a:gd name="connsiteX0" fmla="*/ 0 w 3744987"/>
                <a:gd name="connsiteY0" fmla="*/ 0 h 720080"/>
                <a:gd name="connsiteX1" fmla="*/ 3744987 w 3744987"/>
                <a:gd name="connsiteY1" fmla="*/ 0 h 720080"/>
                <a:gd name="connsiteX2" fmla="*/ 3744987 w 3744987"/>
                <a:gd name="connsiteY2" fmla="*/ 720080 h 720080"/>
                <a:gd name="connsiteX3" fmla="*/ 0 w 3744987"/>
                <a:gd name="connsiteY3" fmla="*/ 720080 h 720080"/>
                <a:gd name="connsiteX4" fmla="*/ 0 w 3744987"/>
                <a:gd name="connsiteY4" fmla="*/ 0 h 720080"/>
                <a:gd name="connsiteX0" fmla="*/ 0 w 3744987"/>
                <a:gd name="connsiteY0" fmla="*/ 0 h 720080"/>
                <a:gd name="connsiteX1" fmla="*/ 3744987 w 3744987"/>
                <a:gd name="connsiteY1" fmla="*/ 0 h 720080"/>
                <a:gd name="connsiteX2" fmla="*/ 3744987 w 3744987"/>
                <a:gd name="connsiteY2" fmla="*/ 720080 h 720080"/>
                <a:gd name="connsiteX3" fmla="*/ 467591 w 3744987"/>
                <a:gd name="connsiteY3" fmla="*/ 720080 h 720080"/>
                <a:gd name="connsiteX4" fmla="*/ 0 w 3744987"/>
                <a:gd name="connsiteY4" fmla="*/ 0 h 720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4987" h="720080">
                  <a:moveTo>
                    <a:pt x="0" y="0"/>
                  </a:moveTo>
                  <a:lnTo>
                    <a:pt x="3744987" y="0"/>
                  </a:lnTo>
                  <a:lnTo>
                    <a:pt x="3744987" y="720080"/>
                  </a:lnTo>
                  <a:lnTo>
                    <a:pt x="467591" y="7200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735995" y="2447742"/>
              <a:ext cx="671512" cy="5105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GB" sz="2800" b="1" i="1" dirty="0">
                  <a:solidFill>
                    <a:schemeClr val="bg1"/>
                  </a:solidFill>
                  <a:latin typeface="Georgia" pitchFamily="18" charset="0"/>
                </a:rPr>
                <a:t>01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307990" y="2463193"/>
              <a:ext cx="2858311" cy="5040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Run</a:t>
              </a:r>
              <a:r>
                <a:rPr lang="zh-CN" altLang="en-US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Baseline</a:t>
              </a:r>
              <a:r>
                <a:rPr lang="zh-CN" altLang="en-US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Model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(GBM)</a:t>
              </a:r>
              <a:r>
                <a:rPr lang="zh-CN" altLang="en-US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with</a:t>
              </a:r>
              <a:r>
                <a:rPr lang="zh-CN" altLang="en-US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SIFT</a:t>
              </a:r>
              <a:r>
                <a:rPr lang="zh-CN" altLang="en-US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Features</a:t>
              </a:r>
              <a:r>
                <a:rPr lang="en-US" altLang="zh-CN" sz="1500" b="1" i="1" dirty="0" smtClean="0">
                  <a:solidFill>
                    <a:srgbClr val="C00000"/>
                  </a:solidFill>
                  <a:latin typeface="+mj-lt"/>
                  <a:cs typeface="Arial" panose="020B0604020202020204" pitchFamily="34" charset="0"/>
                </a:rPr>
                <a:t>(72.8%)</a:t>
              </a:r>
              <a:endParaRPr lang="en-GB" sz="1100" b="1" dirty="0">
                <a:solidFill>
                  <a:srgbClr val="C00000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530241" y="3286132"/>
            <a:ext cx="2830715" cy="736821"/>
            <a:chOff x="530238" y="3286129"/>
            <a:chExt cx="2830715" cy="736821"/>
          </a:xfrm>
        </p:grpSpPr>
        <p:sp>
          <p:nvSpPr>
            <p:cNvPr id="13" name="Rectangle 2"/>
            <p:cNvSpPr/>
            <p:nvPr/>
          </p:nvSpPr>
          <p:spPr bwMode="ltGray">
            <a:xfrm flipH="1" flipV="1">
              <a:off x="530238" y="3286129"/>
              <a:ext cx="2830715" cy="736821"/>
            </a:xfrm>
            <a:custGeom>
              <a:avLst/>
              <a:gdLst>
                <a:gd name="connsiteX0" fmla="*/ 0 w 3744987"/>
                <a:gd name="connsiteY0" fmla="*/ 0 h 720080"/>
                <a:gd name="connsiteX1" fmla="*/ 3744987 w 3744987"/>
                <a:gd name="connsiteY1" fmla="*/ 0 h 720080"/>
                <a:gd name="connsiteX2" fmla="*/ 3744987 w 3744987"/>
                <a:gd name="connsiteY2" fmla="*/ 720080 h 720080"/>
                <a:gd name="connsiteX3" fmla="*/ 0 w 3744987"/>
                <a:gd name="connsiteY3" fmla="*/ 720080 h 720080"/>
                <a:gd name="connsiteX4" fmla="*/ 0 w 3744987"/>
                <a:gd name="connsiteY4" fmla="*/ 0 h 720080"/>
                <a:gd name="connsiteX0" fmla="*/ 0 w 3744987"/>
                <a:gd name="connsiteY0" fmla="*/ 0 h 720080"/>
                <a:gd name="connsiteX1" fmla="*/ 3744987 w 3744987"/>
                <a:gd name="connsiteY1" fmla="*/ 0 h 720080"/>
                <a:gd name="connsiteX2" fmla="*/ 3744987 w 3744987"/>
                <a:gd name="connsiteY2" fmla="*/ 720080 h 720080"/>
                <a:gd name="connsiteX3" fmla="*/ 467591 w 3744987"/>
                <a:gd name="connsiteY3" fmla="*/ 720080 h 720080"/>
                <a:gd name="connsiteX4" fmla="*/ 0 w 3744987"/>
                <a:gd name="connsiteY4" fmla="*/ 0 h 720080"/>
                <a:gd name="connsiteX0" fmla="*/ 0 w 3744987"/>
                <a:gd name="connsiteY0" fmla="*/ 0 h 730471"/>
                <a:gd name="connsiteX1" fmla="*/ 3744987 w 3744987"/>
                <a:gd name="connsiteY1" fmla="*/ 0 h 730471"/>
                <a:gd name="connsiteX2" fmla="*/ 3744987 w 3744987"/>
                <a:gd name="connsiteY2" fmla="*/ 720080 h 730471"/>
                <a:gd name="connsiteX3" fmla="*/ 563391 w 3744987"/>
                <a:gd name="connsiteY3" fmla="*/ 730471 h 730471"/>
                <a:gd name="connsiteX4" fmla="*/ 0 w 3744987"/>
                <a:gd name="connsiteY4" fmla="*/ 0 h 730471"/>
                <a:gd name="connsiteX0" fmla="*/ 0 w 3744987"/>
                <a:gd name="connsiteY0" fmla="*/ 0 h 733646"/>
                <a:gd name="connsiteX1" fmla="*/ 3744987 w 3744987"/>
                <a:gd name="connsiteY1" fmla="*/ 0 h 733646"/>
                <a:gd name="connsiteX2" fmla="*/ 3744987 w 3744987"/>
                <a:gd name="connsiteY2" fmla="*/ 720080 h 733646"/>
                <a:gd name="connsiteX3" fmla="*/ 605209 w 3744987"/>
                <a:gd name="connsiteY3" fmla="*/ 733646 h 733646"/>
                <a:gd name="connsiteX4" fmla="*/ 0 w 3744987"/>
                <a:gd name="connsiteY4" fmla="*/ 0 h 733646"/>
                <a:gd name="connsiteX0" fmla="*/ 0 w 3728260"/>
                <a:gd name="connsiteY0" fmla="*/ 0 h 736821"/>
                <a:gd name="connsiteX1" fmla="*/ 3728260 w 3728260"/>
                <a:gd name="connsiteY1" fmla="*/ 3175 h 736821"/>
                <a:gd name="connsiteX2" fmla="*/ 3728260 w 3728260"/>
                <a:gd name="connsiteY2" fmla="*/ 723255 h 736821"/>
                <a:gd name="connsiteX3" fmla="*/ 588482 w 3728260"/>
                <a:gd name="connsiteY3" fmla="*/ 736821 h 736821"/>
                <a:gd name="connsiteX4" fmla="*/ 0 w 3728260"/>
                <a:gd name="connsiteY4" fmla="*/ 0 h 736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28260" h="736821">
                  <a:moveTo>
                    <a:pt x="0" y="0"/>
                  </a:moveTo>
                  <a:lnTo>
                    <a:pt x="3728260" y="3175"/>
                  </a:lnTo>
                  <a:lnTo>
                    <a:pt x="3728260" y="723255"/>
                  </a:lnTo>
                  <a:lnTo>
                    <a:pt x="588482" y="736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B8C0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2378674" y="3324987"/>
              <a:ext cx="671512" cy="5105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GB" sz="2800" b="1" i="1" dirty="0">
                  <a:solidFill>
                    <a:schemeClr val="bg1"/>
                  </a:solidFill>
                  <a:latin typeface="Georgia" pitchFamily="18" charset="0"/>
                </a:rPr>
                <a:t>02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581061" y="3437404"/>
              <a:ext cx="2207341" cy="5040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Consider</a:t>
              </a:r>
              <a:r>
                <a:rPr lang="zh-CN" altLang="en-US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better</a:t>
              </a:r>
              <a:r>
                <a:rPr lang="zh-CN" altLang="en-US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models</a:t>
              </a:r>
              <a:r>
                <a:rPr lang="zh-CN" altLang="en-US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and</a:t>
              </a:r>
              <a:r>
                <a:rPr lang="zh-CN" altLang="en-US" sz="1500" b="1" i="1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5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features</a:t>
              </a:r>
              <a:endParaRPr lang="en-US" altLang="zh-CN" sz="1500" b="1" i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378675" y="4194982"/>
            <a:ext cx="2942216" cy="723255"/>
            <a:chOff x="2378674" y="4194978"/>
            <a:chExt cx="2942215" cy="723255"/>
          </a:xfrm>
        </p:grpSpPr>
        <p:sp>
          <p:nvSpPr>
            <p:cNvPr id="14" name="Rectangle 2"/>
            <p:cNvSpPr/>
            <p:nvPr/>
          </p:nvSpPr>
          <p:spPr bwMode="ltGray">
            <a:xfrm>
              <a:off x="2378674" y="4194978"/>
              <a:ext cx="2767016" cy="723255"/>
            </a:xfrm>
            <a:custGeom>
              <a:avLst/>
              <a:gdLst>
                <a:gd name="connsiteX0" fmla="*/ 0 w 3744987"/>
                <a:gd name="connsiteY0" fmla="*/ 0 h 720080"/>
                <a:gd name="connsiteX1" fmla="*/ 3744987 w 3744987"/>
                <a:gd name="connsiteY1" fmla="*/ 0 h 720080"/>
                <a:gd name="connsiteX2" fmla="*/ 3744987 w 3744987"/>
                <a:gd name="connsiteY2" fmla="*/ 720080 h 720080"/>
                <a:gd name="connsiteX3" fmla="*/ 0 w 3744987"/>
                <a:gd name="connsiteY3" fmla="*/ 720080 h 720080"/>
                <a:gd name="connsiteX4" fmla="*/ 0 w 3744987"/>
                <a:gd name="connsiteY4" fmla="*/ 0 h 720080"/>
                <a:gd name="connsiteX0" fmla="*/ 0 w 3744987"/>
                <a:gd name="connsiteY0" fmla="*/ 0 h 720080"/>
                <a:gd name="connsiteX1" fmla="*/ 3744987 w 3744987"/>
                <a:gd name="connsiteY1" fmla="*/ 0 h 720080"/>
                <a:gd name="connsiteX2" fmla="*/ 3744987 w 3744987"/>
                <a:gd name="connsiteY2" fmla="*/ 720080 h 720080"/>
                <a:gd name="connsiteX3" fmla="*/ 467591 w 3744987"/>
                <a:gd name="connsiteY3" fmla="*/ 720080 h 720080"/>
                <a:gd name="connsiteX4" fmla="*/ 0 w 3744987"/>
                <a:gd name="connsiteY4" fmla="*/ 0 h 720080"/>
                <a:gd name="connsiteX0" fmla="*/ 0 w 3664286"/>
                <a:gd name="connsiteY0" fmla="*/ 0 h 720080"/>
                <a:gd name="connsiteX1" fmla="*/ 3664286 w 3664286"/>
                <a:gd name="connsiteY1" fmla="*/ 0 h 720080"/>
                <a:gd name="connsiteX2" fmla="*/ 3664286 w 3664286"/>
                <a:gd name="connsiteY2" fmla="*/ 720080 h 720080"/>
                <a:gd name="connsiteX3" fmla="*/ 386890 w 3664286"/>
                <a:gd name="connsiteY3" fmla="*/ 720080 h 720080"/>
                <a:gd name="connsiteX4" fmla="*/ 0 w 3664286"/>
                <a:gd name="connsiteY4" fmla="*/ 0 h 720080"/>
                <a:gd name="connsiteX0" fmla="*/ 0 w 3664286"/>
                <a:gd name="connsiteY0" fmla="*/ 0 h 723255"/>
                <a:gd name="connsiteX1" fmla="*/ 3664286 w 3664286"/>
                <a:gd name="connsiteY1" fmla="*/ 0 h 723255"/>
                <a:gd name="connsiteX2" fmla="*/ 3664286 w 3664286"/>
                <a:gd name="connsiteY2" fmla="*/ 720080 h 723255"/>
                <a:gd name="connsiteX3" fmla="*/ 595014 w 3664286"/>
                <a:gd name="connsiteY3" fmla="*/ 723255 h 723255"/>
                <a:gd name="connsiteX4" fmla="*/ 0 w 3664286"/>
                <a:gd name="connsiteY4" fmla="*/ 0 h 7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64286" h="723255">
                  <a:moveTo>
                    <a:pt x="0" y="0"/>
                  </a:moveTo>
                  <a:lnTo>
                    <a:pt x="3664286" y="0"/>
                  </a:lnTo>
                  <a:lnTo>
                    <a:pt x="3664286" y="720080"/>
                  </a:lnTo>
                  <a:lnTo>
                    <a:pt x="595014" y="7232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788405" y="4299311"/>
              <a:ext cx="671512" cy="5105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GB" sz="2800" b="1" i="1" dirty="0">
                  <a:solidFill>
                    <a:schemeClr val="bg1"/>
                  </a:solidFill>
                  <a:latin typeface="Georgia" pitchFamily="18" charset="0"/>
                </a:rPr>
                <a:t>03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3379307" y="4302564"/>
              <a:ext cx="1941582" cy="5040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60000"/>
                </a:lnSpc>
                <a:spcAft>
                  <a:spcPts val="900"/>
                </a:spcAft>
              </a:pPr>
              <a:r>
                <a:rPr lang="en-US" altLang="zh-CN" sz="12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Model</a:t>
              </a:r>
              <a:r>
                <a:rPr lang="zh-CN" altLang="en-US" sz="12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r>
                <a:rPr lang="en-US" altLang="zh-CN" sz="12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Assessment,</a:t>
              </a:r>
              <a:endParaRPr lang="en-US" altLang="zh-CN" sz="1200" b="1" i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  <a:p>
              <a:pPr>
                <a:lnSpc>
                  <a:spcPct val="60000"/>
                </a:lnSpc>
                <a:spcAft>
                  <a:spcPts val="900"/>
                </a:spcAft>
              </a:pPr>
              <a:r>
                <a:rPr lang="en-US" altLang="zh-CN" sz="12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Validation,</a:t>
              </a:r>
            </a:p>
            <a:p>
              <a:pPr>
                <a:lnSpc>
                  <a:spcPct val="60000"/>
                </a:lnSpc>
                <a:spcAft>
                  <a:spcPts val="900"/>
                </a:spcAft>
              </a:pPr>
              <a:r>
                <a:rPr lang="en-US" altLang="zh-CN" sz="12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C</a:t>
              </a:r>
              <a:r>
                <a:rPr lang="en-US" altLang="zh-CN" sz="12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omparison</a:t>
              </a:r>
              <a:r>
                <a:rPr lang="zh-CN" altLang="en-US" sz="1200" b="1" i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 </a:t>
              </a:r>
              <a:endParaRPr lang="en-GB" sz="105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33403" y="5142492"/>
            <a:ext cx="3816697" cy="730472"/>
            <a:chOff x="533400" y="5142492"/>
            <a:chExt cx="3816697" cy="730472"/>
          </a:xfrm>
        </p:grpSpPr>
        <p:sp>
          <p:nvSpPr>
            <p:cNvPr id="15" name="Rectangle 2"/>
            <p:cNvSpPr/>
            <p:nvPr/>
          </p:nvSpPr>
          <p:spPr bwMode="ltGray">
            <a:xfrm flipH="1" flipV="1">
              <a:off x="533400" y="5142492"/>
              <a:ext cx="3816697" cy="730472"/>
            </a:xfrm>
            <a:custGeom>
              <a:avLst/>
              <a:gdLst>
                <a:gd name="connsiteX0" fmla="*/ 0 w 3744987"/>
                <a:gd name="connsiteY0" fmla="*/ 0 h 720080"/>
                <a:gd name="connsiteX1" fmla="*/ 3744987 w 3744987"/>
                <a:gd name="connsiteY1" fmla="*/ 0 h 720080"/>
                <a:gd name="connsiteX2" fmla="*/ 3744987 w 3744987"/>
                <a:gd name="connsiteY2" fmla="*/ 720080 h 720080"/>
                <a:gd name="connsiteX3" fmla="*/ 0 w 3744987"/>
                <a:gd name="connsiteY3" fmla="*/ 720080 h 720080"/>
                <a:gd name="connsiteX4" fmla="*/ 0 w 3744987"/>
                <a:gd name="connsiteY4" fmla="*/ 0 h 720080"/>
                <a:gd name="connsiteX0" fmla="*/ 0 w 3744987"/>
                <a:gd name="connsiteY0" fmla="*/ 0 h 720080"/>
                <a:gd name="connsiteX1" fmla="*/ 3744987 w 3744987"/>
                <a:gd name="connsiteY1" fmla="*/ 0 h 720080"/>
                <a:gd name="connsiteX2" fmla="*/ 3744987 w 3744987"/>
                <a:gd name="connsiteY2" fmla="*/ 720080 h 720080"/>
                <a:gd name="connsiteX3" fmla="*/ 467591 w 3744987"/>
                <a:gd name="connsiteY3" fmla="*/ 720080 h 720080"/>
                <a:gd name="connsiteX4" fmla="*/ 0 w 3744987"/>
                <a:gd name="connsiteY4" fmla="*/ 0 h 720080"/>
                <a:gd name="connsiteX0" fmla="*/ 0 w 3744987"/>
                <a:gd name="connsiteY0" fmla="*/ 0 h 730471"/>
                <a:gd name="connsiteX1" fmla="*/ 3744987 w 3744987"/>
                <a:gd name="connsiteY1" fmla="*/ 0 h 730471"/>
                <a:gd name="connsiteX2" fmla="*/ 3744987 w 3744987"/>
                <a:gd name="connsiteY2" fmla="*/ 720080 h 730471"/>
                <a:gd name="connsiteX3" fmla="*/ 563391 w 3744987"/>
                <a:gd name="connsiteY3" fmla="*/ 730471 h 730471"/>
                <a:gd name="connsiteX4" fmla="*/ 0 w 3744987"/>
                <a:gd name="connsiteY4" fmla="*/ 0 h 730471"/>
                <a:gd name="connsiteX0" fmla="*/ 0 w 3744987"/>
                <a:gd name="connsiteY0" fmla="*/ 0 h 725709"/>
                <a:gd name="connsiteX1" fmla="*/ 3744987 w 3744987"/>
                <a:gd name="connsiteY1" fmla="*/ 0 h 725709"/>
                <a:gd name="connsiteX2" fmla="*/ 3744987 w 3744987"/>
                <a:gd name="connsiteY2" fmla="*/ 720080 h 725709"/>
                <a:gd name="connsiteX3" fmla="*/ 300553 w 3744987"/>
                <a:gd name="connsiteY3" fmla="*/ 725709 h 725709"/>
                <a:gd name="connsiteX4" fmla="*/ 0 w 3744987"/>
                <a:gd name="connsiteY4" fmla="*/ 0 h 725709"/>
                <a:gd name="connsiteX0" fmla="*/ 0 w 3900743"/>
                <a:gd name="connsiteY0" fmla="*/ 0 h 730472"/>
                <a:gd name="connsiteX1" fmla="*/ 3900743 w 3900743"/>
                <a:gd name="connsiteY1" fmla="*/ 4763 h 730472"/>
                <a:gd name="connsiteX2" fmla="*/ 3900743 w 3900743"/>
                <a:gd name="connsiteY2" fmla="*/ 724843 h 730472"/>
                <a:gd name="connsiteX3" fmla="*/ 456309 w 3900743"/>
                <a:gd name="connsiteY3" fmla="*/ 730472 h 730472"/>
                <a:gd name="connsiteX4" fmla="*/ 0 w 3900743"/>
                <a:gd name="connsiteY4" fmla="*/ 0 h 730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00743" h="730472">
                  <a:moveTo>
                    <a:pt x="0" y="0"/>
                  </a:moveTo>
                  <a:lnTo>
                    <a:pt x="3900743" y="4763"/>
                  </a:lnTo>
                  <a:lnTo>
                    <a:pt x="3900743" y="724843"/>
                  </a:lnTo>
                  <a:lnTo>
                    <a:pt x="456309" y="7304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3376484" y="5188188"/>
              <a:ext cx="671512" cy="5105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GB" sz="2800" b="1" i="1" dirty="0">
                  <a:solidFill>
                    <a:schemeClr val="bg1"/>
                  </a:solidFill>
                  <a:latin typeface="Georgia" pitchFamily="18" charset="0"/>
                </a:rPr>
                <a:t>04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54089" y="5293192"/>
              <a:ext cx="3058151" cy="5040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Prediction</a:t>
              </a:r>
              <a:r>
                <a:rPr lang="zh-CN" altLang="en-US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 </a:t>
              </a:r>
              <a:r>
                <a:rPr lang="en-US" altLang="zh-CN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with</a:t>
              </a:r>
              <a:r>
                <a:rPr lang="zh-CN" altLang="en-US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 </a:t>
              </a:r>
              <a:r>
                <a:rPr lang="en-US" altLang="zh-CN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proposed</a:t>
              </a:r>
              <a:r>
                <a:rPr lang="zh-CN" altLang="en-US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 </a:t>
              </a:r>
              <a:r>
                <a:rPr lang="en-US" altLang="zh-CN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model</a:t>
              </a:r>
              <a:r>
                <a:rPr lang="zh-CN" altLang="en-US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 </a:t>
              </a:r>
              <a:r>
                <a:rPr lang="en-US" altLang="zh-CN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and</a:t>
              </a:r>
              <a:r>
                <a:rPr lang="zh-CN" altLang="en-US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 </a:t>
              </a:r>
              <a:r>
                <a:rPr lang="en-US" altLang="zh-CN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combined</a:t>
              </a:r>
              <a:r>
                <a:rPr lang="zh-CN" altLang="en-US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 </a:t>
              </a:r>
              <a:r>
                <a:rPr lang="en-US" altLang="zh-CN" sz="1500" b="1" dirty="0" smtClean="0">
                  <a:solidFill>
                    <a:schemeClr val="bg1"/>
                  </a:solidFill>
                  <a:latin typeface="+mj-lt"/>
                  <a:ea typeface="Arial" charset="0"/>
                  <a:cs typeface="Arial" charset="0"/>
                </a:rPr>
                <a:t>features</a:t>
              </a:r>
              <a:endParaRPr lang="en-GB" sz="1500" b="1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endParaRPr>
            </a:p>
          </p:txBody>
        </p:sp>
      </p:grpSp>
      <p:sp>
        <p:nvSpPr>
          <p:cNvPr id="64" name="Rectangle 188"/>
          <p:cNvSpPr>
            <a:spLocks noChangeArrowheads="1"/>
          </p:cNvSpPr>
          <p:nvPr/>
        </p:nvSpPr>
        <p:spPr bwMode="auto">
          <a:xfrm>
            <a:off x="5956831" y="3682887"/>
            <a:ext cx="2653771" cy="1186273"/>
          </a:xfrm>
          <a:prstGeom prst="rect">
            <a:avLst/>
          </a:prstGeom>
          <a:noFill/>
          <a:ln w="9525">
            <a:solidFill>
              <a:schemeClr val="accent5"/>
            </a:solidFill>
            <a:miter lim="800000"/>
            <a:headEnd/>
            <a:tailEnd/>
          </a:ln>
        </p:spPr>
        <p:txBody>
          <a:bodyPr vert="horz" wrap="square" lIns="72000" tIns="72000" rIns="36000" bIns="36000" numCol="1" anchor="ctr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798513" eaLnBrk="0" hangingPunct="0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500" b="1" dirty="0">
                <a:latin typeface="Arial" panose="020B0604020202020204" pitchFamily="34" charset="0"/>
              </a:rPr>
              <a:t>Predictive Modelling with Image </a:t>
            </a:r>
            <a:r>
              <a:rPr lang="en-US" altLang="zh-CN" sz="1500" b="1" dirty="0" smtClean="0">
                <a:latin typeface="Arial" panose="020B0604020202020204" pitchFamily="34" charset="0"/>
              </a:rPr>
              <a:t>Data</a:t>
            </a:r>
          </a:p>
          <a:p>
            <a:pPr marL="285750" indent="-285750" defTabSz="798513" eaLnBrk="0" hangingPunct="0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500" b="1" dirty="0" smtClean="0">
                <a:latin typeface="Arial" panose="020B0604020202020204" pitchFamily="34" charset="0"/>
              </a:rPr>
              <a:t>To</a:t>
            </a:r>
            <a:r>
              <a:rPr lang="zh-CN" altLang="en-US" sz="1500" b="1" dirty="0" smtClean="0">
                <a:latin typeface="Arial" panose="020B0604020202020204" pitchFamily="34" charset="0"/>
              </a:rPr>
              <a:t> </a:t>
            </a:r>
            <a:r>
              <a:rPr lang="en-US" altLang="zh-CN" sz="1500" b="1" dirty="0">
                <a:latin typeface="Arial" panose="020B0604020202020204" pitchFamily="34" charset="0"/>
              </a:rPr>
              <a:t>distinguish between dogs and </a:t>
            </a:r>
            <a:r>
              <a:rPr lang="en-US" altLang="zh-CN" sz="1500" b="1" dirty="0" smtClean="0">
                <a:latin typeface="Arial" panose="020B0604020202020204" pitchFamily="34" charset="0"/>
              </a:rPr>
              <a:t>cats</a:t>
            </a:r>
          </a:p>
        </p:txBody>
      </p:sp>
      <p:sp>
        <p:nvSpPr>
          <p:cNvPr id="10" name="Right Arrow 9"/>
          <p:cNvSpPr/>
          <p:nvPr/>
        </p:nvSpPr>
        <p:spPr bwMode="ltGray">
          <a:xfrm>
            <a:off x="5349115" y="3890822"/>
            <a:ext cx="447021" cy="690306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graphicFrame>
        <p:nvGraphicFramePr>
          <p:cNvPr id="65" name="Table 6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745047"/>
              </p:ext>
            </p:extLst>
          </p:nvPr>
        </p:nvGraphicFramePr>
        <p:xfrm>
          <a:off x="605410" y="1519591"/>
          <a:ext cx="4512356" cy="370840"/>
        </p:xfrm>
        <a:graphic>
          <a:graphicData uri="http://schemas.openxmlformats.org/drawingml/2006/table">
            <a:tbl>
              <a:tblPr firstRow="1" bandRow="1">
                <a:tableStyleId>{69D073F8-1565-44D7-B386-08B59EADF2EE}</a:tableStyleId>
              </a:tblPr>
              <a:tblGrid>
                <a:gridCol w="4512356"/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FLOW</a:t>
                      </a:r>
                      <a:endParaRPr lang="en-GB" altLang="zh-CN" sz="12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66" name="Table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437595"/>
              </p:ext>
            </p:extLst>
          </p:nvPr>
        </p:nvGraphicFramePr>
        <p:xfrm>
          <a:off x="5868145" y="1519591"/>
          <a:ext cx="2742458" cy="370840"/>
        </p:xfrm>
        <a:graphic>
          <a:graphicData uri="http://schemas.openxmlformats.org/drawingml/2006/table">
            <a:tbl>
              <a:tblPr firstRow="1" bandRow="1">
                <a:tableStyleId>{69D073F8-1565-44D7-B386-08B59EADF2EE}</a:tableStyleId>
              </a:tblPr>
              <a:tblGrid>
                <a:gridCol w="2742458"/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estions</a:t>
                      </a:r>
                      <a:r>
                        <a:rPr lang="zh-CN" altLang="en-US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</a:t>
                      </a:r>
                      <a:r>
                        <a:rPr lang="zh-CN" altLang="en-US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e</a:t>
                      </a:r>
                      <a:r>
                        <a:rPr lang="zh-CN" altLang="en-US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ying</a:t>
                      </a:r>
                      <a:r>
                        <a:rPr lang="zh-CN" altLang="en-US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</a:t>
                      </a:r>
                      <a:r>
                        <a:rPr lang="zh-CN" altLang="en-US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swer</a:t>
                      </a:r>
                      <a:endParaRPr lang="en-GB" altLang="zh-CN" sz="12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7" name="Pentagon 66"/>
          <p:cNvSpPr/>
          <p:nvPr/>
        </p:nvSpPr>
        <p:spPr bwMode="ltGray">
          <a:xfrm>
            <a:off x="7086600" y="335869"/>
            <a:ext cx="1554480" cy="212811"/>
          </a:xfrm>
          <a:prstGeom prst="homePlate">
            <a:avLst/>
          </a:prstGeom>
          <a:solidFill>
            <a:srgbClr val="A3202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8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zh-CN" altLang="en-US" sz="8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8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</a:t>
            </a:r>
            <a:r>
              <a:rPr lang="zh-CN" altLang="en-US" sz="8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8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view</a:t>
            </a:r>
            <a:endParaRPr lang="en-GB" sz="8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965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000"/>
                            </p:stCondLst>
                            <p:childTnLst>
                              <p:par>
                                <p:cTn id="27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标题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6043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86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145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532800" y="687600"/>
            <a:ext cx="8179724" cy="5422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61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i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en-US" altLang="zh-CN" sz="2400" dirty="0" smtClean="0">
                <a:latin typeface="+mj-lt"/>
              </a:rPr>
              <a:t>2.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Feature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Extraction</a:t>
            </a:r>
            <a:endParaRPr lang="en-GB" sz="24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33" name="Pentagon 32"/>
          <p:cNvSpPr/>
          <p:nvPr/>
        </p:nvSpPr>
        <p:spPr bwMode="ltGray">
          <a:xfrm>
            <a:off x="7086600" y="335869"/>
            <a:ext cx="1554480" cy="212811"/>
          </a:xfrm>
          <a:prstGeom prst="homePlate">
            <a:avLst/>
          </a:prstGeom>
          <a:solidFill>
            <a:srgbClr val="A3202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ture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action</a:t>
            </a:r>
            <a:endParaRPr lang="en-GB" sz="78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648345" y="1628775"/>
            <a:ext cx="4571727" cy="4367408"/>
            <a:chOff x="1728464" y="1628775"/>
            <a:chExt cx="4571727" cy="4367408"/>
          </a:xfrm>
        </p:grpSpPr>
        <p:grpSp>
          <p:nvGrpSpPr>
            <p:cNvPr id="104" name="Group 33"/>
            <p:cNvGrpSpPr>
              <a:grpSpLocks/>
            </p:cNvGrpSpPr>
            <p:nvPr/>
          </p:nvGrpSpPr>
          <p:grpSpPr bwMode="auto">
            <a:xfrm>
              <a:off x="1728464" y="1628775"/>
              <a:ext cx="4571727" cy="4367408"/>
              <a:chOff x="671" y="890"/>
              <a:chExt cx="3039" cy="3039"/>
            </a:xfrm>
          </p:grpSpPr>
          <p:sp>
            <p:nvSpPr>
              <p:cNvPr id="105" name="_s1034"/>
              <p:cNvSpPr>
                <a:spLocks noChangeArrowheads="1" noTextEdit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1282" y="2115"/>
                <a:ext cx="1814" cy="1814"/>
              </a:xfrm>
              <a:prstGeom prst="ellipse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106" name="_s1036"/>
              <p:cNvSpPr>
                <a:spLocks noChangeArrowheads="1" noTextEdit="1"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671" y="1503"/>
                <a:ext cx="1814" cy="1814"/>
              </a:xfrm>
              <a:prstGeom prst="ellipse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107" name="_s1028"/>
              <p:cNvSpPr>
                <a:spLocks noChangeArrowheads="1" noTextEdit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288" y="890"/>
                <a:ext cx="1814" cy="1814"/>
              </a:xfrm>
              <a:prstGeom prst="ellipse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6350" algn="ctr">
                <a:noFill/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108" name="_s1030"/>
              <p:cNvSpPr>
                <a:spLocks noChangeArrowheads="1" noTextEdit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1896" y="1503"/>
                <a:ext cx="1814" cy="1814"/>
              </a:xfrm>
              <a:prstGeom prst="ellipse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grpSp>
            <p:nvGrpSpPr>
              <p:cNvPr id="109" name="Group 10"/>
              <p:cNvGrpSpPr>
                <a:grpSpLocks/>
              </p:cNvGrpSpPr>
              <p:nvPr/>
            </p:nvGrpSpPr>
            <p:grpSpPr bwMode="auto">
              <a:xfrm>
                <a:off x="1283" y="1502"/>
                <a:ext cx="1815" cy="1815"/>
                <a:chOff x="1283" y="1502"/>
                <a:chExt cx="1815" cy="1815"/>
              </a:xfrm>
            </p:grpSpPr>
            <p:sp>
              <p:nvSpPr>
                <p:cNvPr id="128" name="Freeform 11"/>
                <p:cNvSpPr>
                  <a:spLocks/>
                </p:cNvSpPr>
                <p:nvPr/>
              </p:nvSpPr>
              <p:spPr bwMode="auto">
                <a:xfrm>
                  <a:off x="1283" y="1502"/>
                  <a:ext cx="907" cy="909"/>
                </a:xfrm>
                <a:custGeom>
                  <a:avLst/>
                  <a:gdLst>
                    <a:gd name="T0" fmla="*/ 36 w 907"/>
                    <a:gd name="T1" fmla="*/ 39 h 909"/>
                    <a:gd name="T2" fmla="*/ 17 w 907"/>
                    <a:gd name="T3" fmla="*/ 118 h 909"/>
                    <a:gd name="T4" fmla="*/ 1 w 907"/>
                    <a:gd name="T5" fmla="*/ 237 h 909"/>
                    <a:gd name="T6" fmla="*/ 0 w 907"/>
                    <a:gd name="T7" fmla="*/ 343 h 909"/>
                    <a:gd name="T8" fmla="*/ 17 w 907"/>
                    <a:gd name="T9" fmla="*/ 482 h 909"/>
                    <a:gd name="T10" fmla="*/ 48 w 907"/>
                    <a:gd name="T11" fmla="*/ 592 h 909"/>
                    <a:gd name="T12" fmla="*/ 75 w 907"/>
                    <a:gd name="T13" fmla="*/ 654 h 909"/>
                    <a:gd name="T14" fmla="*/ 104 w 907"/>
                    <a:gd name="T15" fmla="*/ 715 h 909"/>
                    <a:gd name="T16" fmla="*/ 133 w 907"/>
                    <a:gd name="T17" fmla="*/ 764 h 909"/>
                    <a:gd name="T18" fmla="*/ 151 w 907"/>
                    <a:gd name="T19" fmla="*/ 796 h 909"/>
                    <a:gd name="T20" fmla="*/ 175 w 907"/>
                    <a:gd name="T21" fmla="*/ 827 h 909"/>
                    <a:gd name="T22" fmla="*/ 198 w 907"/>
                    <a:gd name="T23" fmla="*/ 863 h 909"/>
                    <a:gd name="T24" fmla="*/ 238 w 907"/>
                    <a:gd name="T25" fmla="*/ 909 h 909"/>
                    <a:gd name="T26" fmla="*/ 294 w 907"/>
                    <a:gd name="T27" fmla="*/ 853 h 909"/>
                    <a:gd name="T28" fmla="*/ 348 w 907"/>
                    <a:gd name="T29" fmla="*/ 808 h 909"/>
                    <a:gd name="T30" fmla="*/ 393 w 907"/>
                    <a:gd name="T31" fmla="*/ 774 h 909"/>
                    <a:gd name="T32" fmla="*/ 441 w 907"/>
                    <a:gd name="T33" fmla="*/ 742 h 909"/>
                    <a:gd name="T34" fmla="*/ 498 w 907"/>
                    <a:gd name="T35" fmla="*/ 712 h 909"/>
                    <a:gd name="T36" fmla="*/ 547 w 907"/>
                    <a:gd name="T37" fmla="*/ 687 h 909"/>
                    <a:gd name="T38" fmla="*/ 588 w 907"/>
                    <a:gd name="T39" fmla="*/ 670 h 909"/>
                    <a:gd name="T40" fmla="*/ 652 w 907"/>
                    <a:gd name="T41" fmla="*/ 649 h 909"/>
                    <a:gd name="T42" fmla="*/ 685 w 907"/>
                    <a:gd name="T43" fmla="*/ 549 h 909"/>
                    <a:gd name="T44" fmla="*/ 723 w 907"/>
                    <a:gd name="T45" fmla="*/ 471 h 909"/>
                    <a:gd name="T46" fmla="*/ 756 w 907"/>
                    <a:gd name="T47" fmla="*/ 418 h 909"/>
                    <a:gd name="T48" fmla="*/ 822 w 907"/>
                    <a:gd name="T49" fmla="*/ 328 h 909"/>
                    <a:gd name="T50" fmla="*/ 907 w 907"/>
                    <a:gd name="T51" fmla="*/ 237 h 909"/>
                    <a:gd name="T52" fmla="*/ 855 w 907"/>
                    <a:gd name="T53" fmla="*/ 195 h 909"/>
                    <a:gd name="T54" fmla="*/ 795 w 907"/>
                    <a:gd name="T55" fmla="*/ 151 h 909"/>
                    <a:gd name="T56" fmla="*/ 742 w 907"/>
                    <a:gd name="T57" fmla="*/ 120 h 909"/>
                    <a:gd name="T58" fmla="*/ 697 w 907"/>
                    <a:gd name="T59" fmla="*/ 93 h 909"/>
                    <a:gd name="T60" fmla="*/ 648 w 907"/>
                    <a:gd name="T61" fmla="*/ 72 h 909"/>
                    <a:gd name="T62" fmla="*/ 574 w 907"/>
                    <a:gd name="T63" fmla="*/ 43 h 909"/>
                    <a:gd name="T64" fmla="*/ 499 w 907"/>
                    <a:gd name="T65" fmla="*/ 24 h 909"/>
                    <a:gd name="T66" fmla="*/ 439 w 907"/>
                    <a:gd name="T67" fmla="*/ 12 h 909"/>
                    <a:gd name="T68" fmla="*/ 367 w 907"/>
                    <a:gd name="T69" fmla="*/ 4 h 909"/>
                    <a:gd name="T70" fmla="*/ 301 w 907"/>
                    <a:gd name="T71" fmla="*/ 0 h 909"/>
                    <a:gd name="T72" fmla="*/ 226 w 907"/>
                    <a:gd name="T73" fmla="*/ 3 h 909"/>
                    <a:gd name="T74" fmla="*/ 129 w 907"/>
                    <a:gd name="T75" fmla="*/ 16 h 909"/>
                    <a:gd name="T76" fmla="*/ 36 w 907"/>
                    <a:gd name="T77" fmla="*/ 39 h 909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907"/>
                    <a:gd name="T118" fmla="*/ 0 h 909"/>
                    <a:gd name="T119" fmla="*/ 907 w 907"/>
                    <a:gd name="T120" fmla="*/ 909 h 909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907" h="909">
                      <a:moveTo>
                        <a:pt x="36" y="39"/>
                      </a:moveTo>
                      <a:lnTo>
                        <a:pt x="17" y="118"/>
                      </a:lnTo>
                      <a:lnTo>
                        <a:pt x="1" y="237"/>
                      </a:lnTo>
                      <a:lnTo>
                        <a:pt x="0" y="343"/>
                      </a:lnTo>
                      <a:lnTo>
                        <a:pt x="17" y="482"/>
                      </a:lnTo>
                      <a:lnTo>
                        <a:pt x="48" y="592"/>
                      </a:lnTo>
                      <a:lnTo>
                        <a:pt x="75" y="654"/>
                      </a:lnTo>
                      <a:lnTo>
                        <a:pt x="104" y="715"/>
                      </a:lnTo>
                      <a:lnTo>
                        <a:pt x="133" y="764"/>
                      </a:lnTo>
                      <a:lnTo>
                        <a:pt x="151" y="796"/>
                      </a:lnTo>
                      <a:lnTo>
                        <a:pt x="175" y="827"/>
                      </a:lnTo>
                      <a:lnTo>
                        <a:pt x="198" y="863"/>
                      </a:lnTo>
                      <a:lnTo>
                        <a:pt x="238" y="909"/>
                      </a:lnTo>
                      <a:lnTo>
                        <a:pt x="294" y="853"/>
                      </a:lnTo>
                      <a:lnTo>
                        <a:pt x="348" y="808"/>
                      </a:lnTo>
                      <a:lnTo>
                        <a:pt x="393" y="774"/>
                      </a:lnTo>
                      <a:lnTo>
                        <a:pt x="441" y="742"/>
                      </a:lnTo>
                      <a:lnTo>
                        <a:pt x="498" y="712"/>
                      </a:lnTo>
                      <a:lnTo>
                        <a:pt x="547" y="687"/>
                      </a:lnTo>
                      <a:lnTo>
                        <a:pt x="588" y="670"/>
                      </a:lnTo>
                      <a:lnTo>
                        <a:pt x="652" y="649"/>
                      </a:lnTo>
                      <a:lnTo>
                        <a:pt x="685" y="549"/>
                      </a:lnTo>
                      <a:lnTo>
                        <a:pt x="723" y="471"/>
                      </a:lnTo>
                      <a:lnTo>
                        <a:pt x="756" y="418"/>
                      </a:lnTo>
                      <a:lnTo>
                        <a:pt x="822" y="328"/>
                      </a:lnTo>
                      <a:lnTo>
                        <a:pt x="907" y="237"/>
                      </a:lnTo>
                      <a:lnTo>
                        <a:pt x="855" y="195"/>
                      </a:lnTo>
                      <a:lnTo>
                        <a:pt x="795" y="151"/>
                      </a:lnTo>
                      <a:lnTo>
                        <a:pt x="742" y="120"/>
                      </a:lnTo>
                      <a:lnTo>
                        <a:pt x="697" y="93"/>
                      </a:lnTo>
                      <a:lnTo>
                        <a:pt x="648" y="72"/>
                      </a:lnTo>
                      <a:lnTo>
                        <a:pt x="574" y="43"/>
                      </a:lnTo>
                      <a:lnTo>
                        <a:pt x="499" y="24"/>
                      </a:lnTo>
                      <a:lnTo>
                        <a:pt x="439" y="12"/>
                      </a:lnTo>
                      <a:lnTo>
                        <a:pt x="367" y="4"/>
                      </a:lnTo>
                      <a:lnTo>
                        <a:pt x="301" y="0"/>
                      </a:lnTo>
                      <a:lnTo>
                        <a:pt x="226" y="3"/>
                      </a:lnTo>
                      <a:lnTo>
                        <a:pt x="129" y="16"/>
                      </a:lnTo>
                      <a:lnTo>
                        <a:pt x="36" y="39"/>
                      </a:ln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129" name="Freeform 12"/>
                <p:cNvSpPr>
                  <a:spLocks/>
                </p:cNvSpPr>
                <p:nvPr/>
              </p:nvSpPr>
              <p:spPr bwMode="auto">
                <a:xfrm flipH="1">
                  <a:off x="2191" y="1502"/>
                  <a:ext cx="907" cy="909"/>
                </a:xfrm>
                <a:custGeom>
                  <a:avLst/>
                  <a:gdLst>
                    <a:gd name="T0" fmla="*/ 36 w 907"/>
                    <a:gd name="T1" fmla="*/ 39 h 909"/>
                    <a:gd name="T2" fmla="*/ 17 w 907"/>
                    <a:gd name="T3" fmla="*/ 118 h 909"/>
                    <a:gd name="T4" fmla="*/ 1 w 907"/>
                    <a:gd name="T5" fmla="*/ 237 h 909"/>
                    <a:gd name="T6" fmla="*/ 0 w 907"/>
                    <a:gd name="T7" fmla="*/ 343 h 909"/>
                    <a:gd name="T8" fmla="*/ 17 w 907"/>
                    <a:gd name="T9" fmla="*/ 482 h 909"/>
                    <a:gd name="T10" fmla="*/ 48 w 907"/>
                    <a:gd name="T11" fmla="*/ 592 h 909"/>
                    <a:gd name="T12" fmla="*/ 75 w 907"/>
                    <a:gd name="T13" fmla="*/ 654 h 909"/>
                    <a:gd name="T14" fmla="*/ 104 w 907"/>
                    <a:gd name="T15" fmla="*/ 715 h 909"/>
                    <a:gd name="T16" fmla="*/ 133 w 907"/>
                    <a:gd name="T17" fmla="*/ 764 h 909"/>
                    <a:gd name="T18" fmla="*/ 151 w 907"/>
                    <a:gd name="T19" fmla="*/ 796 h 909"/>
                    <a:gd name="T20" fmla="*/ 175 w 907"/>
                    <a:gd name="T21" fmla="*/ 827 h 909"/>
                    <a:gd name="T22" fmla="*/ 198 w 907"/>
                    <a:gd name="T23" fmla="*/ 863 h 909"/>
                    <a:gd name="T24" fmla="*/ 238 w 907"/>
                    <a:gd name="T25" fmla="*/ 909 h 909"/>
                    <a:gd name="T26" fmla="*/ 294 w 907"/>
                    <a:gd name="T27" fmla="*/ 853 h 909"/>
                    <a:gd name="T28" fmla="*/ 348 w 907"/>
                    <a:gd name="T29" fmla="*/ 808 h 909"/>
                    <a:gd name="T30" fmla="*/ 393 w 907"/>
                    <a:gd name="T31" fmla="*/ 774 h 909"/>
                    <a:gd name="T32" fmla="*/ 441 w 907"/>
                    <a:gd name="T33" fmla="*/ 742 h 909"/>
                    <a:gd name="T34" fmla="*/ 498 w 907"/>
                    <a:gd name="T35" fmla="*/ 712 h 909"/>
                    <a:gd name="T36" fmla="*/ 547 w 907"/>
                    <a:gd name="T37" fmla="*/ 687 h 909"/>
                    <a:gd name="T38" fmla="*/ 588 w 907"/>
                    <a:gd name="T39" fmla="*/ 670 h 909"/>
                    <a:gd name="T40" fmla="*/ 652 w 907"/>
                    <a:gd name="T41" fmla="*/ 649 h 909"/>
                    <a:gd name="T42" fmla="*/ 685 w 907"/>
                    <a:gd name="T43" fmla="*/ 549 h 909"/>
                    <a:gd name="T44" fmla="*/ 723 w 907"/>
                    <a:gd name="T45" fmla="*/ 471 h 909"/>
                    <a:gd name="T46" fmla="*/ 756 w 907"/>
                    <a:gd name="T47" fmla="*/ 418 h 909"/>
                    <a:gd name="T48" fmla="*/ 822 w 907"/>
                    <a:gd name="T49" fmla="*/ 328 h 909"/>
                    <a:gd name="T50" fmla="*/ 907 w 907"/>
                    <a:gd name="T51" fmla="*/ 237 h 909"/>
                    <a:gd name="T52" fmla="*/ 855 w 907"/>
                    <a:gd name="T53" fmla="*/ 195 h 909"/>
                    <a:gd name="T54" fmla="*/ 795 w 907"/>
                    <a:gd name="T55" fmla="*/ 151 h 909"/>
                    <a:gd name="T56" fmla="*/ 742 w 907"/>
                    <a:gd name="T57" fmla="*/ 120 h 909"/>
                    <a:gd name="T58" fmla="*/ 697 w 907"/>
                    <a:gd name="T59" fmla="*/ 93 h 909"/>
                    <a:gd name="T60" fmla="*/ 648 w 907"/>
                    <a:gd name="T61" fmla="*/ 72 h 909"/>
                    <a:gd name="T62" fmla="*/ 574 w 907"/>
                    <a:gd name="T63" fmla="*/ 43 h 909"/>
                    <a:gd name="T64" fmla="*/ 499 w 907"/>
                    <a:gd name="T65" fmla="*/ 24 h 909"/>
                    <a:gd name="T66" fmla="*/ 439 w 907"/>
                    <a:gd name="T67" fmla="*/ 12 h 909"/>
                    <a:gd name="T68" fmla="*/ 367 w 907"/>
                    <a:gd name="T69" fmla="*/ 4 h 909"/>
                    <a:gd name="T70" fmla="*/ 301 w 907"/>
                    <a:gd name="T71" fmla="*/ 0 h 909"/>
                    <a:gd name="T72" fmla="*/ 226 w 907"/>
                    <a:gd name="T73" fmla="*/ 3 h 909"/>
                    <a:gd name="T74" fmla="*/ 129 w 907"/>
                    <a:gd name="T75" fmla="*/ 16 h 909"/>
                    <a:gd name="T76" fmla="*/ 36 w 907"/>
                    <a:gd name="T77" fmla="*/ 39 h 909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907"/>
                    <a:gd name="T118" fmla="*/ 0 h 909"/>
                    <a:gd name="T119" fmla="*/ 907 w 907"/>
                    <a:gd name="T120" fmla="*/ 909 h 909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907" h="909">
                      <a:moveTo>
                        <a:pt x="36" y="39"/>
                      </a:moveTo>
                      <a:lnTo>
                        <a:pt x="17" y="118"/>
                      </a:lnTo>
                      <a:lnTo>
                        <a:pt x="1" y="237"/>
                      </a:lnTo>
                      <a:lnTo>
                        <a:pt x="0" y="343"/>
                      </a:lnTo>
                      <a:lnTo>
                        <a:pt x="17" y="482"/>
                      </a:lnTo>
                      <a:lnTo>
                        <a:pt x="48" y="592"/>
                      </a:lnTo>
                      <a:lnTo>
                        <a:pt x="75" y="654"/>
                      </a:lnTo>
                      <a:lnTo>
                        <a:pt x="104" y="715"/>
                      </a:lnTo>
                      <a:lnTo>
                        <a:pt x="133" y="764"/>
                      </a:lnTo>
                      <a:lnTo>
                        <a:pt x="151" y="796"/>
                      </a:lnTo>
                      <a:lnTo>
                        <a:pt x="175" y="827"/>
                      </a:lnTo>
                      <a:lnTo>
                        <a:pt x="198" y="863"/>
                      </a:lnTo>
                      <a:lnTo>
                        <a:pt x="238" y="909"/>
                      </a:lnTo>
                      <a:lnTo>
                        <a:pt x="294" y="853"/>
                      </a:lnTo>
                      <a:lnTo>
                        <a:pt x="348" y="808"/>
                      </a:lnTo>
                      <a:lnTo>
                        <a:pt x="393" y="774"/>
                      </a:lnTo>
                      <a:lnTo>
                        <a:pt x="441" y="742"/>
                      </a:lnTo>
                      <a:lnTo>
                        <a:pt x="498" y="712"/>
                      </a:lnTo>
                      <a:lnTo>
                        <a:pt x="547" y="687"/>
                      </a:lnTo>
                      <a:lnTo>
                        <a:pt x="588" y="670"/>
                      </a:lnTo>
                      <a:lnTo>
                        <a:pt x="652" y="649"/>
                      </a:lnTo>
                      <a:lnTo>
                        <a:pt x="685" y="549"/>
                      </a:lnTo>
                      <a:lnTo>
                        <a:pt x="723" y="471"/>
                      </a:lnTo>
                      <a:lnTo>
                        <a:pt x="756" y="418"/>
                      </a:lnTo>
                      <a:lnTo>
                        <a:pt x="822" y="328"/>
                      </a:lnTo>
                      <a:lnTo>
                        <a:pt x="907" y="237"/>
                      </a:lnTo>
                      <a:lnTo>
                        <a:pt x="855" y="195"/>
                      </a:lnTo>
                      <a:lnTo>
                        <a:pt x="795" y="151"/>
                      </a:lnTo>
                      <a:lnTo>
                        <a:pt x="742" y="120"/>
                      </a:lnTo>
                      <a:lnTo>
                        <a:pt x="697" y="93"/>
                      </a:lnTo>
                      <a:lnTo>
                        <a:pt x="648" y="72"/>
                      </a:lnTo>
                      <a:lnTo>
                        <a:pt x="574" y="43"/>
                      </a:lnTo>
                      <a:lnTo>
                        <a:pt x="499" y="24"/>
                      </a:lnTo>
                      <a:lnTo>
                        <a:pt x="439" y="12"/>
                      </a:lnTo>
                      <a:lnTo>
                        <a:pt x="367" y="4"/>
                      </a:lnTo>
                      <a:lnTo>
                        <a:pt x="301" y="0"/>
                      </a:lnTo>
                      <a:lnTo>
                        <a:pt x="226" y="3"/>
                      </a:lnTo>
                      <a:lnTo>
                        <a:pt x="129" y="16"/>
                      </a:lnTo>
                      <a:lnTo>
                        <a:pt x="36" y="39"/>
                      </a:ln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130" name="Freeform 13"/>
                <p:cNvSpPr>
                  <a:spLocks/>
                </p:cNvSpPr>
                <p:nvPr/>
              </p:nvSpPr>
              <p:spPr bwMode="auto">
                <a:xfrm flipV="1">
                  <a:off x="1283" y="2408"/>
                  <a:ext cx="907" cy="909"/>
                </a:xfrm>
                <a:custGeom>
                  <a:avLst/>
                  <a:gdLst>
                    <a:gd name="T0" fmla="*/ 36 w 907"/>
                    <a:gd name="T1" fmla="*/ 39 h 909"/>
                    <a:gd name="T2" fmla="*/ 17 w 907"/>
                    <a:gd name="T3" fmla="*/ 118 h 909"/>
                    <a:gd name="T4" fmla="*/ 1 w 907"/>
                    <a:gd name="T5" fmla="*/ 237 h 909"/>
                    <a:gd name="T6" fmla="*/ 0 w 907"/>
                    <a:gd name="T7" fmla="*/ 343 h 909"/>
                    <a:gd name="T8" fmla="*/ 17 w 907"/>
                    <a:gd name="T9" fmla="*/ 482 h 909"/>
                    <a:gd name="T10" fmla="*/ 48 w 907"/>
                    <a:gd name="T11" fmla="*/ 592 h 909"/>
                    <a:gd name="T12" fmla="*/ 75 w 907"/>
                    <a:gd name="T13" fmla="*/ 654 h 909"/>
                    <a:gd name="T14" fmla="*/ 104 w 907"/>
                    <a:gd name="T15" fmla="*/ 715 h 909"/>
                    <a:gd name="T16" fmla="*/ 133 w 907"/>
                    <a:gd name="T17" fmla="*/ 764 h 909"/>
                    <a:gd name="T18" fmla="*/ 151 w 907"/>
                    <a:gd name="T19" fmla="*/ 796 h 909"/>
                    <a:gd name="T20" fmla="*/ 175 w 907"/>
                    <a:gd name="T21" fmla="*/ 827 h 909"/>
                    <a:gd name="T22" fmla="*/ 198 w 907"/>
                    <a:gd name="T23" fmla="*/ 863 h 909"/>
                    <a:gd name="T24" fmla="*/ 238 w 907"/>
                    <a:gd name="T25" fmla="*/ 909 h 909"/>
                    <a:gd name="T26" fmla="*/ 294 w 907"/>
                    <a:gd name="T27" fmla="*/ 853 h 909"/>
                    <a:gd name="T28" fmla="*/ 348 w 907"/>
                    <a:gd name="T29" fmla="*/ 808 h 909"/>
                    <a:gd name="T30" fmla="*/ 393 w 907"/>
                    <a:gd name="T31" fmla="*/ 774 h 909"/>
                    <a:gd name="T32" fmla="*/ 441 w 907"/>
                    <a:gd name="T33" fmla="*/ 742 h 909"/>
                    <a:gd name="T34" fmla="*/ 498 w 907"/>
                    <a:gd name="T35" fmla="*/ 712 h 909"/>
                    <a:gd name="T36" fmla="*/ 547 w 907"/>
                    <a:gd name="T37" fmla="*/ 687 h 909"/>
                    <a:gd name="T38" fmla="*/ 588 w 907"/>
                    <a:gd name="T39" fmla="*/ 670 h 909"/>
                    <a:gd name="T40" fmla="*/ 652 w 907"/>
                    <a:gd name="T41" fmla="*/ 649 h 909"/>
                    <a:gd name="T42" fmla="*/ 685 w 907"/>
                    <a:gd name="T43" fmla="*/ 549 h 909"/>
                    <a:gd name="T44" fmla="*/ 723 w 907"/>
                    <a:gd name="T45" fmla="*/ 471 h 909"/>
                    <a:gd name="T46" fmla="*/ 756 w 907"/>
                    <a:gd name="T47" fmla="*/ 418 h 909"/>
                    <a:gd name="T48" fmla="*/ 822 w 907"/>
                    <a:gd name="T49" fmla="*/ 328 h 909"/>
                    <a:gd name="T50" fmla="*/ 907 w 907"/>
                    <a:gd name="T51" fmla="*/ 237 h 909"/>
                    <a:gd name="T52" fmla="*/ 855 w 907"/>
                    <a:gd name="T53" fmla="*/ 195 h 909"/>
                    <a:gd name="T54" fmla="*/ 795 w 907"/>
                    <a:gd name="T55" fmla="*/ 151 h 909"/>
                    <a:gd name="T56" fmla="*/ 742 w 907"/>
                    <a:gd name="T57" fmla="*/ 120 h 909"/>
                    <a:gd name="T58" fmla="*/ 697 w 907"/>
                    <a:gd name="T59" fmla="*/ 93 h 909"/>
                    <a:gd name="T60" fmla="*/ 648 w 907"/>
                    <a:gd name="T61" fmla="*/ 72 h 909"/>
                    <a:gd name="T62" fmla="*/ 574 w 907"/>
                    <a:gd name="T63" fmla="*/ 43 h 909"/>
                    <a:gd name="T64" fmla="*/ 499 w 907"/>
                    <a:gd name="T65" fmla="*/ 24 h 909"/>
                    <a:gd name="T66" fmla="*/ 439 w 907"/>
                    <a:gd name="T67" fmla="*/ 12 h 909"/>
                    <a:gd name="T68" fmla="*/ 367 w 907"/>
                    <a:gd name="T69" fmla="*/ 4 h 909"/>
                    <a:gd name="T70" fmla="*/ 301 w 907"/>
                    <a:gd name="T71" fmla="*/ 0 h 909"/>
                    <a:gd name="T72" fmla="*/ 226 w 907"/>
                    <a:gd name="T73" fmla="*/ 3 h 909"/>
                    <a:gd name="T74" fmla="*/ 129 w 907"/>
                    <a:gd name="T75" fmla="*/ 16 h 909"/>
                    <a:gd name="T76" fmla="*/ 36 w 907"/>
                    <a:gd name="T77" fmla="*/ 39 h 909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907"/>
                    <a:gd name="T118" fmla="*/ 0 h 909"/>
                    <a:gd name="T119" fmla="*/ 907 w 907"/>
                    <a:gd name="T120" fmla="*/ 909 h 909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907" h="909">
                      <a:moveTo>
                        <a:pt x="36" y="39"/>
                      </a:moveTo>
                      <a:lnTo>
                        <a:pt x="17" y="118"/>
                      </a:lnTo>
                      <a:lnTo>
                        <a:pt x="1" y="237"/>
                      </a:lnTo>
                      <a:lnTo>
                        <a:pt x="0" y="343"/>
                      </a:lnTo>
                      <a:lnTo>
                        <a:pt x="17" y="482"/>
                      </a:lnTo>
                      <a:lnTo>
                        <a:pt x="48" y="592"/>
                      </a:lnTo>
                      <a:lnTo>
                        <a:pt x="75" y="654"/>
                      </a:lnTo>
                      <a:lnTo>
                        <a:pt x="104" y="715"/>
                      </a:lnTo>
                      <a:lnTo>
                        <a:pt x="133" y="764"/>
                      </a:lnTo>
                      <a:lnTo>
                        <a:pt x="151" y="796"/>
                      </a:lnTo>
                      <a:lnTo>
                        <a:pt x="175" y="827"/>
                      </a:lnTo>
                      <a:lnTo>
                        <a:pt x="198" y="863"/>
                      </a:lnTo>
                      <a:lnTo>
                        <a:pt x="238" y="909"/>
                      </a:lnTo>
                      <a:lnTo>
                        <a:pt x="294" y="853"/>
                      </a:lnTo>
                      <a:lnTo>
                        <a:pt x="348" y="808"/>
                      </a:lnTo>
                      <a:lnTo>
                        <a:pt x="393" y="774"/>
                      </a:lnTo>
                      <a:lnTo>
                        <a:pt x="441" y="742"/>
                      </a:lnTo>
                      <a:lnTo>
                        <a:pt x="498" y="712"/>
                      </a:lnTo>
                      <a:lnTo>
                        <a:pt x="547" y="687"/>
                      </a:lnTo>
                      <a:lnTo>
                        <a:pt x="588" y="670"/>
                      </a:lnTo>
                      <a:lnTo>
                        <a:pt x="652" y="649"/>
                      </a:lnTo>
                      <a:lnTo>
                        <a:pt x="685" y="549"/>
                      </a:lnTo>
                      <a:lnTo>
                        <a:pt x="723" y="471"/>
                      </a:lnTo>
                      <a:lnTo>
                        <a:pt x="756" y="418"/>
                      </a:lnTo>
                      <a:lnTo>
                        <a:pt x="822" y="328"/>
                      </a:lnTo>
                      <a:lnTo>
                        <a:pt x="907" y="237"/>
                      </a:lnTo>
                      <a:lnTo>
                        <a:pt x="855" y="195"/>
                      </a:lnTo>
                      <a:lnTo>
                        <a:pt x="795" y="151"/>
                      </a:lnTo>
                      <a:lnTo>
                        <a:pt x="742" y="120"/>
                      </a:lnTo>
                      <a:lnTo>
                        <a:pt x="697" y="93"/>
                      </a:lnTo>
                      <a:lnTo>
                        <a:pt x="648" y="72"/>
                      </a:lnTo>
                      <a:lnTo>
                        <a:pt x="574" y="43"/>
                      </a:lnTo>
                      <a:lnTo>
                        <a:pt x="499" y="24"/>
                      </a:lnTo>
                      <a:lnTo>
                        <a:pt x="439" y="12"/>
                      </a:lnTo>
                      <a:lnTo>
                        <a:pt x="367" y="4"/>
                      </a:lnTo>
                      <a:lnTo>
                        <a:pt x="301" y="0"/>
                      </a:lnTo>
                      <a:lnTo>
                        <a:pt x="226" y="3"/>
                      </a:lnTo>
                      <a:lnTo>
                        <a:pt x="129" y="16"/>
                      </a:lnTo>
                      <a:lnTo>
                        <a:pt x="36" y="39"/>
                      </a:ln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131" name="Freeform 14"/>
                <p:cNvSpPr>
                  <a:spLocks/>
                </p:cNvSpPr>
                <p:nvPr/>
              </p:nvSpPr>
              <p:spPr bwMode="auto">
                <a:xfrm flipH="1" flipV="1">
                  <a:off x="2191" y="2408"/>
                  <a:ext cx="907" cy="909"/>
                </a:xfrm>
                <a:custGeom>
                  <a:avLst/>
                  <a:gdLst>
                    <a:gd name="T0" fmla="*/ 36 w 907"/>
                    <a:gd name="T1" fmla="*/ 39 h 909"/>
                    <a:gd name="T2" fmla="*/ 17 w 907"/>
                    <a:gd name="T3" fmla="*/ 118 h 909"/>
                    <a:gd name="T4" fmla="*/ 1 w 907"/>
                    <a:gd name="T5" fmla="*/ 237 h 909"/>
                    <a:gd name="T6" fmla="*/ 0 w 907"/>
                    <a:gd name="T7" fmla="*/ 343 h 909"/>
                    <a:gd name="T8" fmla="*/ 17 w 907"/>
                    <a:gd name="T9" fmla="*/ 482 h 909"/>
                    <a:gd name="T10" fmla="*/ 48 w 907"/>
                    <a:gd name="T11" fmla="*/ 592 h 909"/>
                    <a:gd name="T12" fmla="*/ 75 w 907"/>
                    <a:gd name="T13" fmla="*/ 654 h 909"/>
                    <a:gd name="T14" fmla="*/ 104 w 907"/>
                    <a:gd name="T15" fmla="*/ 715 h 909"/>
                    <a:gd name="T16" fmla="*/ 133 w 907"/>
                    <a:gd name="T17" fmla="*/ 764 h 909"/>
                    <a:gd name="T18" fmla="*/ 151 w 907"/>
                    <a:gd name="T19" fmla="*/ 796 h 909"/>
                    <a:gd name="T20" fmla="*/ 175 w 907"/>
                    <a:gd name="T21" fmla="*/ 827 h 909"/>
                    <a:gd name="T22" fmla="*/ 198 w 907"/>
                    <a:gd name="T23" fmla="*/ 863 h 909"/>
                    <a:gd name="T24" fmla="*/ 238 w 907"/>
                    <a:gd name="T25" fmla="*/ 909 h 909"/>
                    <a:gd name="T26" fmla="*/ 294 w 907"/>
                    <a:gd name="T27" fmla="*/ 853 h 909"/>
                    <a:gd name="T28" fmla="*/ 348 w 907"/>
                    <a:gd name="T29" fmla="*/ 808 h 909"/>
                    <a:gd name="T30" fmla="*/ 393 w 907"/>
                    <a:gd name="T31" fmla="*/ 774 h 909"/>
                    <a:gd name="T32" fmla="*/ 441 w 907"/>
                    <a:gd name="T33" fmla="*/ 742 h 909"/>
                    <a:gd name="T34" fmla="*/ 498 w 907"/>
                    <a:gd name="T35" fmla="*/ 712 h 909"/>
                    <a:gd name="T36" fmla="*/ 547 w 907"/>
                    <a:gd name="T37" fmla="*/ 687 h 909"/>
                    <a:gd name="T38" fmla="*/ 588 w 907"/>
                    <a:gd name="T39" fmla="*/ 670 h 909"/>
                    <a:gd name="T40" fmla="*/ 652 w 907"/>
                    <a:gd name="T41" fmla="*/ 649 h 909"/>
                    <a:gd name="T42" fmla="*/ 685 w 907"/>
                    <a:gd name="T43" fmla="*/ 549 h 909"/>
                    <a:gd name="T44" fmla="*/ 723 w 907"/>
                    <a:gd name="T45" fmla="*/ 471 h 909"/>
                    <a:gd name="T46" fmla="*/ 756 w 907"/>
                    <a:gd name="T47" fmla="*/ 418 h 909"/>
                    <a:gd name="T48" fmla="*/ 822 w 907"/>
                    <a:gd name="T49" fmla="*/ 328 h 909"/>
                    <a:gd name="T50" fmla="*/ 907 w 907"/>
                    <a:gd name="T51" fmla="*/ 237 h 909"/>
                    <a:gd name="T52" fmla="*/ 855 w 907"/>
                    <a:gd name="T53" fmla="*/ 195 h 909"/>
                    <a:gd name="T54" fmla="*/ 795 w 907"/>
                    <a:gd name="T55" fmla="*/ 151 h 909"/>
                    <a:gd name="T56" fmla="*/ 742 w 907"/>
                    <a:gd name="T57" fmla="*/ 120 h 909"/>
                    <a:gd name="T58" fmla="*/ 697 w 907"/>
                    <a:gd name="T59" fmla="*/ 93 h 909"/>
                    <a:gd name="T60" fmla="*/ 648 w 907"/>
                    <a:gd name="T61" fmla="*/ 72 h 909"/>
                    <a:gd name="T62" fmla="*/ 574 w 907"/>
                    <a:gd name="T63" fmla="*/ 43 h 909"/>
                    <a:gd name="T64" fmla="*/ 499 w 907"/>
                    <a:gd name="T65" fmla="*/ 24 h 909"/>
                    <a:gd name="T66" fmla="*/ 439 w 907"/>
                    <a:gd name="T67" fmla="*/ 12 h 909"/>
                    <a:gd name="T68" fmla="*/ 367 w 907"/>
                    <a:gd name="T69" fmla="*/ 4 h 909"/>
                    <a:gd name="T70" fmla="*/ 301 w 907"/>
                    <a:gd name="T71" fmla="*/ 0 h 909"/>
                    <a:gd name="T72" fmla="*/ 226 w 907"/>
                    <a:gd name="T73" fmla="*/ 3 h 909"/>
                    <a:gd name="T74" fmla="*/ 129 w 907"/>
                    <a:gd name="T75" fmla="*/ 16 h 909"/>
                    <a:gd name="T76" fmla="*/ 36 w 907"/>
                    <a:gd name="T77" fmla="*/ 39 h 909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907"/>
                    <a:gd name="T118" fmla="*/ 0 h 909"/>
                    <a:gd name="T119" fmla="*/ 907 w 907"/>
                    <a:gd name="T120" fmla="*/ 909 h 909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907" h="909">
                      <a:moveTo>
                        <a:pt x="36" y="39"/>
                      </a:moveTo>
                      <a:lnTo>
                        <a:pt x="17" y="118"/>
                      </a:lnTo>
                      <a:lnTo>
                        <a:pt x="1" y="237"/>
                      </a:lnTo>
                      <a:lnTo>
                        <a:pt x="0" y="343"/>
                      </a:lnTo>
                      <a:lnTo>
                        <a:pt x="17" y="482"/>
                      </a:lnTo>
                      <a:lnTo>
                        <a:pt x="48" y="592"/>
                      </a:lnTo>
                      <a:lnTo>
                        <a:pt x="75" y="654"/>
                      </a:lnTo>
                      <a:lnTo>
                        <a:pt x="104" y="715"/>
                      </a:lnTo>
                      <a:lnTo>
                        <a:pt x="133" y="764"/>
                      </a:lnTo>
                      <a:lnTo>
                        <a:pt x="151" y="796"/>
                      </a:lnTo>
                      <a:lnTo>
                        <a:pt x="175" y="827"/>
                      </a:lnTo>
                      <a:lnTo>
                        <a:pt x="198" y="863"/>
                      </a:lnTo>
                      <a:lnTo>
                        <a:pt x="238" y="909"/>
                      </a:lnTo>
                      <a:lnTo>
                        <a:pt x="294" y="853"/>
                      </a:lnTo>
                      <a:lnTo>
                        <a:pt x="348" y="808"/>
                      </a:lnTo>
                      <a:lnTo>
                        <a:pt x="393" y="774"/>
                      </a:lnTo>
                      <a:lnTo>
                        <a:pt x="441" y="742"/>
                      </a:lnTo>
                      <a:lnTo>
                        <a:pt x="498" y="712"/>
                      </a:lnTo>
                      <a:lnTo>
                        <a:pt x="547" y="687"/>
                      </a:lnTo>
                      <a:lnTo>
                        <a:pt x="588" y="670"/>
                      </a:lnTo>
                      <a:lnTo>
                        <a:pt x="652" y="649"/>
                      </a:lnTo>
                      <a:lnTo>
                        <a:pt x="685" y="549"/>
                      </a:lnTo>
                      <a:lnTo>
                        <a:pt x="723" y="471"/>
                      </a:lnTo>
                      <a:lnTo>
                        <a:pt x="756" y="418"/>
                      </a:lnTo>
                      <a:lnTo>
                        <a:pt x="822" y="328"/>
                      </a:lnTo>
                      <a:lnTo>
                        <a:pt x="907" y="237"/>
                      </a:lnTo>
                      <a:lnTo>
                        <a:pt x="855" y="195"/>
                      </a:lnTo>
                      <a:lnTo>
                        <a:pt x="795" y="151"/>
                      </a:lnTo>
                      <a:lnTo>
                        <a:pt x="742" y="120"/>
                      </a:lnTo>
                      <a:lnTo>
                        <a:pt x="697" y="93"/>
                      </a:lnTo>
                      <a:lnTo>
                        <a:pt x="648" y="72"/>
                      </a:lnTo>
                      <a:lnTo>
                        <a:pt x="574" y="43"/>
                      </a:lnTo>
                      <a:lnTo>
                        <a:pt x="499" y="24"/>
                      </a:lnTo>
                      <a:lnTo>
                        <a:pt x="439" y="12"/>
                      </a:lnTo>
                      <a:lnTo>
                        <a:pt x="367" y="4"/>
                      </a:lnTo>
                      <a:lnTo>
                        <a:pt x="301" y="0"/>
                      </a:lnTo>
                      <a:lnTo>
                        <a:pt x="226" y="3"/>
                      </a:lnTo>
                      <a:lnTo>
                        <a:pt x="129" y="16"/>
                      </a:lnTo>
                      <a:lnTo>
                        <a:pt x="36" y="39"/>
                      </a:ln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</p:grpSp>
          <p:grpSp>
            <p:nvGrpSpPr>
              <p:cNvPr id="110" name="Group 15"/>
              <p:cNvGrpSpPr>
                <a:grpSpLocks/>
              </p:cNvGrpSpPr>
              <p:nvPr/>
            </p:nvGrpSpPr>
            <p:grpSpPr bwMode="auto">
              <a:xfrm>
                <a:off x="1522" y="1741"/>
                <a:ext cx="1338" cy="1338"/>
                <a:chOff x="1522" y="1741"/>
                <a:chExt cx="1338" cy="1338"/>
              </a:xfrm>
            </p:grpSpPr>
            <p:sp>
              <p:nvSpPr>
                <p:cNvPr id="123" name="Freeform 16"/>
                <p:cNvSpPr>
                  <a:spLocks/>
                </p:cNvSpPr>
                <p:nvPr/>
              </p:nvSpPr>
              <p:spPr bwMode="auto">
                <a:xfrm>
                  <a:off x="2446" y="2153"/>
                  <a:ext cx="414" cy="513"/>
                </a:xfrm>
                <a:custGeom>
                  <a:avLst/>
                  <a:gdLst>
                    <a:gd name="T0" fmla="*/ 2 w 414"/>
                    <a:gd name="T1" fmla="*/ 0 h 513"/>
                    <a:gd name="T2" fmla="*/ 84 w 414"/>
                    <a:gd name="T3" fmla="*/ 28 h 513"/>
                    <a:gd name="T4" fmla="*/ 159 w 414"/>
                    <a:gd name="T5" fmla="*/ 63 h 513"/>
                    <a:gd name="T6" fmla="*/ 242 w 414"/>
                    <a:gd name="T7" fmla="*/ 111 h 513"/>
                    <a:gd name="T8" fmla="*/ 309 w 414"/>
                    <a:gd name="T9" fmla="*/ 160 h 513"/>
                    <a:gd name="T10" fmla="*/ 354 w 414"/>
                    <a:gd name="T11" fmla="*/ 199 h 513"/>
                    <a:gd name="T12" fmla="*/ 404 w 414"/>
                    <a:gd name="T13" fmla="*/ 247 h 513"/>
                    <a:gd name="T14" fmla="*/ 414 w 414"/>
                    <a:gd name="T15" fmla="*/ 258 h 513"/>
                    <a:gd name="T16" fmla="*/ 375 w 414"/>
                    <a:gd name="T17" fmla="*/ 294 h 513"/>
                    <a:gd name="T18" fmla="*/ 325 w 414"/>
                    <a:gd name="T19" fmla="*/ 341 h 513"/>
                    <a:gd name="T20" fmla="*/ 288 w 414"/>
                    <a:gd name="T21" fmla="*/ 369 h 513"/>
                    <a:gd name="T22" fmla="*/ 256 w 414"/>
                    <a:gd name="T23" fmla="*/ 394 h 513"/>
                    <a:gd name="T24" fmla="*/ 211 w 414"/>
                    <a:gd name="T25" fmla="*/ 421 h 513"/>
                    <a:gd name="T26" fmla="*/ 167 w 414"/>
                    <a:gd name="T27" fmla="*/ 448 h 513"/>
                    <a:gd name="T28" fmla="*/ 124 w 414"/>
                    <a:gd name="T29" fmla="*/ 468 h 513"/>
                    <a:gd name="T30" fmla="*/ 56 w 414"/>
                    <a:gd name="T31" fmla="*/ 497 h 513"/>
                    <a:gd name="T32" fmla="*/ 0 w 414"/>
                    <a:gd name="T33" fmla="*/ 513 h 513"/>
                    <a:gd name="T34" fmla="*/ 14 w 414"/>
                    <a:gd name="T35" fmla="*/ 477 h 513"/>
                    <a:gd name="T36" fmla="*/ 25 w 414"/>
                    <a:gd name="T37" fmla="*/ 418 h 513"/>
                    <a:gd name="T38" fmla="*/ 32 w 414"/>
                    <a:gd name="T39" fmla="*/ 377 h 513"/>
                    <a:gd name="T40" fmla="*/ 37 w 414"/>
                    <a:gd name="T41" fmla="*/ 331 h 513"/>
                    <a:gd name="T42" fmla="*/ 39 w 414"/>
                    <a:gd name="T43" fmla="*/ 284 h 513"/>
                    <a:gd name="T44" fmla="*/ 40 w 414"/>
                    <a:gd name="T45" fmla="*/ 234 h 513"/>
                    <a:gd name="T46" fmla="*/ 37 w 414"/>
                    <a:gd name="T47" fmla="*/ 185 h 513"/>
                    <a:gd name="T48" fmla="*/ 33 w 414"/>
                    <a:gd name="T49" fmla="*/ 138 h 513"/>
                    <a:gd name="T50" fmla="*/ 25 w 414"/>
                    <a:gd name="T51" fmla="*/ 97 h 513"/>
                    <a:gd name="T52" fmla="*/ 16 w 414"/>
                    <a:gd name="T53" fmla="*/ 45 h 513"/>
                    <a:gd name="T54" fmla="*/ 2 w 414"/>
                    <a:gd name="T55" fmla="*/ 0 h 51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414"/>
                    <a:gd name="T85" fmla="*/ 0 h 513"/>
                    <a:gd name="T86" fmla="*/ 414 w 414"/>
                    <a:gd name="T87" fmla="*/ 513 h 51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414" h="513">
                      <a:moveTo>
                        <a:pt x="2" y="0"/>
                      </a:moveTo>
                      <a:lnTo>
                        <a:pt x="84" y="28"/>
                      </a:lnTo>
                      <a:lnTo>
                        <a:pt x="159" y="63"/>
                      </a:lnTo>
                      <a:lnTo>
                        <a:pt x="242" y="111"/>
                      </a:lnTo>
                      <a:lnTo>
                        <a:pt x="309" y="160"/>
                      </a:lnTo>
                      <a:lnTo>
                        <a:pt x="354" y="199"/>
                      </a:lnTo>
                      <a:lnTo>
                        <a:pt x="404" y="247"/>
                      </a:lnTo>
                      <a:lnTo>
                        <a:pt x="414" y="258"/>
                      </a:lnTo>
                      <a:lnTo>
                        <a:pt x="375" y="294"/>
                      </a:lnTo>
                      <a:lnTo>
                        <a:pt x="325" y="341"/>
                      </a:lnTo>
                      <a:lnTo>
                        <a:pt x="288" y="369"/>
                      </a:lnTo>
                      <a:lnTo>
                        <a:pt x="256" y="394"/>
                      </a:lnTo>
                      <a:lnTo>
                        <a:pt x="211" y="421"/>
                      </a:lnTo>
                      <a:lnTo>
                        <a:pt x="167" y="448"/>
                      </a:lnTo>
                      <a:lnTo>
                        <a:pt x="124" y="468"/>
                      </a:lnTo>
                      <a:lnTo>
                        <a:pt x="56" y="497"/>
                      </a:lnTo>
                      <a:lnTo>
                        <a:pt x="0" y="513"/>
                      </a:lnTo>
                      <a:lnTo>
                        <a:pt x="14" y="477"/>
                      </a:lnTo>
                      <a:lnTo>
                        <a:pt x="25" y="418"/>
                      </a:lnTo>
                      <a:lnTo>
                        <a:pt x="32" y="377"/>
                      </a:lnTo>
                      <a:lnTo>
                        <a:pt x="37" y="331"/>
                      </a:lnTo>
                      <a:lnTo>
                        <a:pt x="39" y="284"/>
                      </a:lnTo>
                      <a:lnTo>
                        <a:pt x="40" y="234"/>
                      </a:lnTo>
                      <a:lnTo>
                        <a:pt x="37" y="185"/>
                      </a:lnTo>
                      <a:lnTo>
                        <a:pt x="33" y="138"/>
                      </a:lnTo>
                      <a:lnTo>
                        <a:pt x="25" y="97"/>
                      </a:lnTo>
                      <a:lnTo>
                        <a:pt x="16" y="45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124" name="Freeform 17"/>
                <p:cNvSpPr>
                  <a:spLocks/>
                </p:cNvSpPr>
                <p:nvPr/>
              </p:nvSpPr>
              <p:spPr bwMode="auto">
                <a:xfrm flipH="1">
                  <a:off x="1522" y="2153"/>
                  <a:ext cx="414" cy="513"/>
                </a:xfrm>
                <a:custGeom>
                  <a:avLst/>
                  <a:gdLst>
                    <a:gd name="T0" fmla="*/ 2 w 414"/>
                    <a:gd name="T1" fmla="*/ 0 h 513"/>
                    <a:gd name="T2" fmla="*/ 84 w 414"/>
                    <a:gd name="T3" fmla="*/ 28 h 513"/>
                    <a:gd name="T4" fmla="*/ 159 w 414"/>
                    <a:gd name="T5" fmla="*/ 63 h 513"/>
                    <a:gd name="T6" fmla="*/ 242 w 414"/>
                    <a:gd name="T7" fmla="*/ 111 h 513"/>
                    <a:gd name="T8" fmla="*/ 309 w 414"/>
                    <a:gd name="T9" fmla="*/ 160 h 513"/>
                    <a:gd name="T10" fmla="*/ 354 w 414"/>
                    <a:gd name="T11" fmla="*/ 199 h 513"/>
                    <a:gd name="T12" fmla="*/ 404 w 414"/>
                    <a:gd name="T13" fmla="*/ 247 h 513"/>
                    <a:gd name="T14" fmla="*/ 414 w 414"/>
                    <a:gd name="T15" fmla="*/ 258 h 513"/>
                    <a:gd name="T16" fmla="*/ 375 w 414"/>
                    <a:gd name="T17" fmla="*/ 294 h 513"/>
                    <a:gd name="T18" fmla="*/ 325 w 414"/>
                    <a:gd name="T19" fmla="*/ 341 h 513"/>
                    <a:gd name="T20" fmla="*/ 288 w 414"/>
                    <a:gd name="T21" fmla="*/ 369 h 513"/>
                    <a:gd name="T22" fmla="*/ 256 w 414"/>
                    <a:gd name="T23" fmla="*/ 394 h 513"/>
                    <a:gd name="T24" fmla="*/ 211 w 414"/>
                    <a:gd name="T25" fmla="*/ 421 h 513"/>
                    <a:gd name="T26" fmla="*/ 167 w 414"/>
                    <a:gd name="T27" fmla="*/ 448 h 513"/>
                    <a:gd name="T28" fmla="*/ 124 w 414"/>
                    <a:gd name="T29" fmla="*/ 468 h 513"/>
                    <a:gd name="T30" fmla="*/ 56 w 414"/>
                    <a:gd name="T31" fmla="*/ 497 h 513"/>
                    <a:gd name="T32" fmla="*/ 0 w 414"/>
                    <a:gd name="T33" fmla="*/ 513 h 513"/>
                    <a:gd name="T34" fmla="*/ 14 w 414"/>
                    <a:gd name="T35" fmla="*/ 477 h 513"/>
                    <a:gd name="T36" fmla="*/ 25 w 414"/>
                    <a:gd name="T37" fmla="*/ 418 h 513"/>
                    <a:gd name="T38" fmla="*/ 32 w 414"/>
                    <a:gd name="T39" fmla="*/ 377 h 513"/>
                    <a:gd name="T40" fmla="*/ 37 w 414"/>
                    <a:gd name="T41" fmla="*/ 331 h 513"/>
                    <a:gd name="T42" fmla="*/ 39 w 414"/>
                    <a:gd name="T43" fmla="*/ 284 h 513"/>
                    <a:gd name="T44" fmla="*/ 40 w 414"/>
                    <a:gd name="T45" fmla="*/ 234 h 513"/>
                    <a:gd name="T46" fmla="*/ 37 w 414"/>
                    <a:gd name="T47" fmla="*/ 185 h 513"/>
                    <a:gd name="T48" fmla="*/ 33 w 414"/>
                    <a:gd name="T49" fmla="*/ 138 h 513"/>
                    <a:gd name="T50" fmla="*/ 25 w 414"/>
                    <a:gd name="T51" fmla="*/ 97 h 513"/>
                    <a:gd name="T52" fmla="*/ 16 w 414"/>
                    <a:gd name="T53" fmla="*/ 45 h 513"/>
                    <a:gd name="T54" fmla="*/ 2 w 414"/>
                    <a:gd name="T55" fmla="*/ 0 h 51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414"/>
                    <a:gd name="T85" fmla="*/ 0 h 513"/>
                    <a:gd name="T86" fmla="*/ 414 w 414"/>
                    <a:gd name="T87" fmla="*/ 513 h 51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414" h="513">
                      <a:moveTo>
                        <a:pt x="2" y="0"/>
                      </a:moveTo>
                      <a:lnTo>
                        <a:pt x="84" y="28"/>
                      </a:lnTo>
                      <a:lnTo>
                        <a:pt x="159" y="63"/>
                      </a:lnTo>
                      <a:lnTo>
                        <a:pt x="242" y="111"/>
                      </a:lnTo>
                      <a:lnTo>
                        <a:pt x="309" y="160"/>
                      </a:lnTo>
                      <a:lnTo>
                        <a:pt x="354" y="199"/>
                      </a:lnTo>
                      <a:lnTo>
                        <a:pt x="404" y="247"/>
                      </a:lnTo>
                      <a:lnTo>
                        <a:pt x="414" y="258"/>
                      </a:lnTo>
                      <a:lnTo>
                        <a:pt x="375" y="294"/>
                      </a:lnTo>
                      <a:lnTo>
                        <a:pt x="325" y="341"/>
                      </a:lnTo>
                      <a:lnTo>
                        <a:pt x="288" y="369"/>
                      </a:lnTo>
                      <a:lnTo>
                        <a:pt x="256" y="394"/>
                      </a:lnTo>
                      <a:lnTo>
                        <a:pt x="211" y="421"/>
                      </a:lnTo>
                      <a:lnTo>
                        <a:pt x="167" y="448"/>
                      </a:lnTo>
                      <a:lnTo>
                        <a:pt x="124" y="468"/>
                      </a:lnTo>
                      <a:lnTo>
                        <a:pt x="56" y="497"/>
                      </a:lnTo>
                      <a:lnTo>
                        <a:pt x="0" y="513"/>
                      </a:lnTo>
                      <a:lnTo>
                        <a:pt x="14" y="477"/>
                      </a:lnTo>
                      <a:lnTo>
                        <a:pt x="25" y="418"/>
                      </a:lnTo>
                      <a:lnTo>
                        <a:pt x="32" y="377"/>
                      </a:lnTo>
                      <a:lnTo>
                        <a:pt x="37" y="331"/>
                      </a:lnTo>
                      <a:lnTo>
                        <a:pt x="39" y="284"/>
                      </a:lnTo>
                      <a:lnTo>
                        <a:pt x="40" y="234"/>
                      </a:lnTo>
                      <a:lnTo>
                        <a:pt x="37" y="185"/>
                      </a:lnTo>
                      <a:lnTo>
                        <a:pt x="33" y="138"/>
                      </a:lnTo>
                      <a:lnTo>
                        <a:pt x="25" y="97"/>
                      </a:lnTo>
                      <a:lnTo>
                        <a:pt x="16" y="45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grpSp>
              <p:nvGrpSpPr>
                <p:cNvPr id="125" name="Group 18"/>
                <p:cNvGrpSpPr>
                  <a:grpSpLocks/>
                </p:cNvGrpSpPr>
                <p:nvPr/>
              </p:nvGrpSpPr>
              <p:grpSpPr bwMode="auto">
                <a:xfrm rot="-5400000">
                  <a:off x="1522" y="2153"/>
                  <a:ext cx="1338" cy="513"/>
                  <a:chOff x="1522" y="2609"/>
                  <a:chExt cx="1338" cy="513"/>
                </a:xfrm>
              </p:grpSpPr>
              <p:sp>
                <p:nvSpPr>
                  <p:cNvPr id="126" name="Freeform 19"/>
                  <p:cNvSpPr>
                    <a:spLocks/>
                  </p:cNvSpPr>
                  <p:nvPr/>
                </p:nvSpPr>
                <p:spPr bwMode="auto">
                  <a:xfrm>
                    <a:off x="2446" y="2609"/>
                    <a:ext cx="414" cy="513"/>
                  </a:xfrm>
                  <a:custGeom>
                    <a:avLst/>
                    <a:gdLst>
                      <a:gd name="T0" fmla="*/ 2 w 414"/>
                      <a:gd name="T1" fmla="*/ 0 h 513"/>
                      <a:gd name="T2" fmla="*/ 84 w 414"/>
                      <a:gd name="T3" fmla="*/ 28 h 513"/>
                      <a:gd name="T4" fmla="*/ 159 w 414"/>
                      <a:gd name="T5" fmla="*/ 63 h 513"/>
                      <a:gd name="T6" fmla="*/ 242 w 414"/>
                      <a:gd name="T7" fmla="*/ 111 h 513"/>
                      <a:gd name="T8" fmla="*/ 309 w 414"/>
                      <a:gd name="T9" fmla="*/ 160 h 513"/>
                      <a:gd name="T10" fmla="*/ 354 w 414"/>
                      <a:gd name="T11" fmla="*/ 199 h 513"/>
                      <a:gd name="T12" fmla="*/ 404 w 414"/>
                      <a:gd name="T13" fmla="*/ 247 h 513"/>
                      <a:gd name="T14" fmla="*/ 414 w 414"/>
                      <a:gd name="T15" fmla="*/ 258 h 513"/>
                      <a:gd name="T16" fmla="*/ 375 w 414"/>
                      <a:gd name="T17" fmla="*/ 294 h 513"/>
                      <a:gd name="T18" fmla="*/ 325 w 414"/>
                      <a:gd name="T19" fmla="*/ 341 h 513"/>
                      <a:gd name="T20" fmla="*/ 288 w 414"/>
                      <a:gd name="T21" fmla="*/ 369 h 513"/>
                      <a:gd name="T22" fmla="*/ 256 w 414"/>
                      <a:gd name="T23" fmla="*/ 394 h 513"/>
                      <a:gd name="T24" fmla="*/ 211 w 414"/>
                      <a:gd name="T25" fmla="*/ 421 h 513"/>
                      <a:gd name="T26" fmla="*/ 167 w 414"/>
                      <a:gd name="T27" fmla="*/ 448 h 513"/>
                      <a:gd name="T28" fmla="*/ 124 w 414"/>
                      <a:gd name="T29" fmla="*/ 468 h 513"/>
                      <a:gd name="T30" fmla="*/ 56 w 414"/>
                      <a:gd name="T31" fmla="*/ 497 h 513"/>
                      <a:gd name="T32" fmla="*/ 0 w 414"/>
                      <a:gd name="T33" fmla="*/ 513 h 513"/>
                      <a:gd name="T34" fmla="*/ 14 w 414"/>
                      <a:gd name="T35" fmla="*/ 477 h 513"/>
                      <a:gd name="T36" fmla="*/ 25 w 414"/>
                      <a:gd name="T37" fmla="*/ 418 h 513"/>
                      <a:gd name="T38" fmla="*/ 32 w 414"/>
                      <a:gd name="T39" fmla="*/ 377 h 513"/>
                      <a:gd name="T40" fmla="*/ 37 w 414"/>
                      <a:gd name="T41" fmla="*/ 331 h 513"/>
                      <a:gd name="T42" fmla="*/ 39 w 414"/>
                      <a:gd name="T43" fmla="*/ 284 h 513"/>
                      <a:gd name="T44" fmla="*/ 40 w 414"/>
                      <a:gd name="T45" fmla="*/ 234 h 513"/>
                      <a:gd name="T46" fmla="*/ 37 w 414"/>
                      <a:gd name="T47" fmla="*/ 185 h 513"/>
                      <a:gd name="T48" fmla="*/ 33 w 414"/>
                      <a:gd name="T49" fmla="*/ 138 h 513"/>
                      <a:gd name="T50" fmla="*/ 25 w 414"/>
                      <a:gd name="T51" fmla="*/ 97 h 513"/>
                      <a:gd name="T52" fmla="*/ 16 w 414"/>
                      <a:gd name="T53" fmla="*/ 45 h 513"/>
                      <a:gd name="T54" fmla="*/ 2 w 414"/>
                      <a:gd name="T55" fmla="*/ 0 h 513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w 414"/>
                      <a:gd name="T85" fmla="*/ 0 h 513"/>
                      <a:gd name="T86" fmla="*/ 414 w 414"/>
                      <a:gd name="T87" fmla="*/ 513 h 513"/>
                    </a:gdLst>
                    <a:ahLst/>
                    <a:cxnLst>
                      <a:cxn ang="T56">
                        <a:pos x="T0" y="T1"/>
                      </a:cxn>
                      <a:cxn ang="T57">
                        <a:pos x="T2" y="T3"/>
                      </a:cxn>
                      <a:cxn ang="T58">
                        <a:pos x="T4" y="T5"/>
                      </a:cxn>
                      <a:cxn ang="T59">
                        <a:pos x="T6" y="T7"/>
                      </a:cxn>
                      <a:cxn ang="T60">
                        <a:pos x="T8" y="T9"/>
                      </a:cxn>
                      <a:cxn ang="T61">
                        <a:pos x="T10" y="T11"/>
                      </a:cxn>
                      <a:cxn ang="T62">
                        <a:pos x="T12" y="T13"/>
                      </a:cxn>
                      <a:cxn ang="T63">
                        <a:pos x="T14" y="T15"/>
                      </a:cxn>
                      <a:cxn ang="T64">
                        <a:pos x="T16" y="T17"/>
                      </a:cxn>
                      <a:cxn ang="T65">
                        <a:pos x="T18" y="T19"/>
                      </a:cxn>
                      <a:cxn ang="T66">
                        <a:pos x="T20" y="T21"/>
                      </a:cxn>
                      <a:cxn ang="T67">
                        <a:pos x="T22" y="T23"/>
                      </a:cxn>
                      <a:cxn ang="T68">
                        <a:pos x="T24" y="T25"/>
                      </a:cxn>
                      <a:cxn ang="T69">
                        <a:pos x="T26" y="T27"/>
                      </a:cxn>
                      <a:cxn ang="T70">
                        <a:pos x="T28" y="T29"/>
                      </a:cxn>
                      <a:cxn ang="T71">
                        <a:pos x="T30" y="T31"/>
                      </a:cxn>
                      <a:cxn ang="T72">
                        <a:pos x="T32" y="T33"/>
                      </a:cxn>
                      <a:cxn ang="T73">
                        <a:pos x="T34" y="T35"/>
                      </a:cxn>
                      <a:cxn ang="T74">
                        <a:pos x="T36" y="T37"/>
                      </a:cxn>
                      <a:cxn ang="T75">
                        <a:pos x="T38" y="T39"/>
                      </a:cxn>
                      <a:cxn ang="T76">
                        <a:pos x="T40" y="T41"/>
                      </a:cxn>
                      <a:cxn ang="T77">
                        <a:pos x="T42" y="T43"/>
                      </a:cxn>
                      <a:cxn ang="T78">
                        <a:pos x="T44" y="T45"/>
                      </a:cxn>
                      <a:cxn ang="T79">
                        <a:pos x="T46" y="T47"/>
                      </a:cxn>
                      <a:cxn ang="T80">
                        <a:pos x="T48" y="T49"/>
                      </a:cxn>
                      <a:cxn ang="T81">
                        <a:pos x="T50" y="T51"/>
                      </a:cxn>
                      <a:cxn ang="T82">
                        <a:pos x="T52" y="T53"/>
                      </a:cxn>
                      <a:cxn ang="T83">
                        <a:pos x="T54" y="T55"/>
                      </a:cxn>
                    </a:cxnLst>
                    <a:rect l="T84" t="T85" r="T86" b="T87"/>
                    <a:pathLst>
                      <a:path w="414" h="513">
                        <a:moveTo>
                          <a:pt x="2" y="0"/>
                        </a:moveTo>
                        <a:lnTo>
                          <a:pt x="84" y="28"/>
                        </a:lnTo>
                        <a:lnTo>
                          <a:pt x="159" y="63"/>
                        </a:lnTo>
                        <a:lnTo>
                          <a:pt x="242" y="111"/>
                        </a:lnTo>
                        <a:lnTo>
                          <a:pt x="309" y="160"/>
                        </a:lnTo>
                        <a:lnTo>
                          <a:pt x="354" y="199"/>
                        </a:lnTo>
                        <a:lnTo>
                          <a:pt x="404" y="247"/>
                        </a:lnTo>
                        <a:lnTo>
                          <a:pt x="414" y="258"/>
                        </a:lnTo>
                        <a:lnTo>
                          <a:pt x="375" y="294"/>
                        </a:lnTo>
                        <a:lnTo>
                          <a:pt x="325" y="341"/>
                        </a:lnTo>
                        <a:lnTo>
                          <a:pt x="288" y="369"/>
                        </a:lnTo>
                        <a:lnTo>
                          <a:pt x="256" y="394"/>
                        </a:lnTo>
                        <a:lnTo>
                          <a:pt x="211" y="421"/>
                        </a:lnTo>
                        <a:lnTo>
                          <a:pt x="167" y="448"/>
                        </a:lnTo>
                        <a:lnTo>
                          <a:pt x="124" y="468"/>
                        </a:lnTo>
                        <a:lnTo>
                          <a:pt x="56" y="497"/>
                        </a:lnTo>
                        <a:lnTo>
                          <a:pt x="0" y="513"/>
                        </a:lnTo>
                        <a:lnTo>
                          <a:pt x="14" y="477"/>
                        </a:lnTo>
                        <a:lnTo>
                          <a:pt x="25" y="418"/>
                        </a:lnTo>
                        <a:lnTo>
                          <a:pt x="32" y="377"/>
                        </a:lnTo>
                        <a:lnTo>
                          <a:pt x="37" y="331"/>
                        </a:lnTo>
                        <a:lnTo>
                          <a:pt x="39" y="284"/>
                        </a:lnTo>
                        <a:lnTo>
                          <a:pt x="40" y="234"/>
                        </a:lnTo>
                        <a:lnTo>
                          <a:pt x="37" y="185"/>
                        </a:lnTo>
                        <a:lnTo>
                          <a:pt x="33" y="138"/>
                        </a:lnTo>
                        <a:lnTo>
                          <a:pt x="25" y="97"/>
                        </a:lnTo>
                        <a:lnTo>
                          <a:pt x="16" y="45"/>
                        </a:lnTo>
                        <a:lnTo>
                          <a:pt x="2" y="0"/>
                        </a:lnTo>
                        <a:close/>
                      </a:path>
                    </a:pathLst>
                  </a:custGeom>
                  <a:solidFill>
                    <a:schemeClr val="accent6"/>
                  </a:solidFill>
                  <a:ln w="6350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wrap="none" lIns="0" tIns="0" rIns="0" bIns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127" name="Freeform 20"/>
                  <p:cNvSpPr>
                    <a:spLocks/>
                  </p:cNvSpPr>
                  <p:nvPr/>
                </p:nvSpPr>
                <p:spPr bwMode="auto">
                  <a:xfrm flipH="1">
                    <a:off x="1522" y="2609"/>
                    <a:ext cx="414" cy="513"/>
                  </a:xfrm>
                  <a:custGeom>
                    <a:avLst/>
                    <a:gdLst>
                      <a:gd name="T0" fmla="*/ 2 w 414"/>
                      <a:gd name="T1" fmla="*/ 0 h 513"/>
                      <a:gd name="T2" fmla="*/ 84 w 414"/>
                      <a:gd name="T3" fmla="*/ 28 h 513"/>
                      <a:gd name="T4" fmla="*/ 159 w 414"/>
                      <a:gd name="T5" fmla="*/ 63 h 513"/>
                      <a:gd name="T6" fmla="*/ 242 w 414"/>
                      <a:gd name="T7" fmla="*/ 111 h 513"/>
                      <a:gd name="T8" fmla="*/ 309 w 414"/>
                      <a:gd name="T9" fmla="*/ 160 h 513"/>
                      <a:gd name="T10" fmla="*/ 354 w 414"/>
                      <a:gd name="T11" fmla="*/ 199 h 513"/>
                      <a:gd name="T12" fmla="*/ 404 w 414"/>
                      <a:gd name="T13" fmla="*/ 247 h 513"/>
                      <a:gd name="T14" fmla="*/ 414 w 414"/>
                      <a:gd name="T15" fmla="*/ 258 h 513"/>
                      <a:gd name="T16" fmla="*/ 375 w 414"/>
                      <a:gd name="T17" fmla="*/ 294 h 513"/>
                      <a:gd name="T18" fmla="*/ 325 w 414"/>
                      <a:gd name="T19" fmla="*/ 341 h 513"/>
                      <a:gd name="T20" fmla="*/ 288 w 414"/>
                      <a:gd name="T21" fmla="*/ 369 h 513"/>
                      <a:gd name="T22" fmla="*/ 256 w 414"/>
                      <a:gd name="T23" fmla="*/ 394 h 513"/>
                      <a:gd name="T24" fmla="*/ 211 w 414"/>
                      <a:gd name="T25" fmla="*/ 421 h 513"/>
                      <a:gd name="T26" fmla="*/ 167 w 414"/>
                      <a:gd name="T27" fmla="*/ 448 h 513"/>
                      <a:gd name="T28" fmla="*/ 124 w 414"/>
                      <a:gd name="T29" fmla="*/ 468 h 513"/>
                      <a:gd name="T30" fmla="*/ 56 w 414"/>
                      <a:gd name="T31" fmla="*/ 497 h 513"/>
                      <a:gd name="T32" fmla="*/ 0 w 414"/>
                      <a:gd name="T33" fmla="*/ 513 h 513"/>
                      <a:gd name="T34" fmla="*/ 14 w 414"/>
                      <a:gd name="T35" fmla="*/ 477 h 513"/>
                      <a:gd name="T36" fmla="*/ 25 w 414"/>
                      <a:gd name="T37" fmla="*/ 418 h 513"/>
                      <a:gd name="T38" fmla="*/ 32 w 414"/>
                      <a:gd name="T39" fmla="*/ 377 h 513"/>
                      <a:gd name="T40" fmla="*/ 37 w 414"/>
                      <a:gd name="T41" fmla="*/ 331 h 513"/>
                      <a:gd name="T42" fmla="*/ 39 w 414"/>
                      <a:gd name="T43" fmla="*/ 284 h 513"/>
                      <a:gd name="T44" fmla="*/ 40 w 414"/>
                      <a:gd name="T45" fmla="*/ 234 h 513"/>
                      <a:gd name="T46" fmla="*/ 37 w 414"/>
                      <a:gd name="T47" fmla="*/ 185 h 513"/>
                      <a:gd name="T48" fmla="*/ 33 w 414"/>
                      <a:gd name="T49" fmla="*/ 138 h 513"/>
                      <a:gd name="T50" fmla="*/ 25 w 414"/>
                      <a:gd name="T51" fmla="*/ 97 h 513"/>
                      <a:gd name="T52" fmla="*/ 16 w 414"/>
                      <a:gd name="T53" fmla="*/ 45 h 513"/>
                      <a:gd name="T54" fmla="*/ 2 w 414"/>
                      <a:gd name="T55" fmla="*/ 0 h 513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w 414"/>
                      <a:gd name="T85" fmla="*/ 0 h 513"/>
                      <a:gd name="T86" fmla="*/ 414 w 414"/>
                      <a:gd name="T87" fmla="*/ 513 h 513"/>
                    </a:gdLst>
                    <a:ahLst/>
                    <a:cxnLst>
                      <a:cxn ang="T56">
                        <a:pos x="T0" y="T1"/>
                      </a:cxn>
                      <a:cxn ang="T57">
                        <a:pos x="T2" y="T3"/>
                      </a:cxn>
                      <a:cxn ang="T58">
                        <a:pos x="T4" y="T5"/>
                      </a:cxn>
                      <a:cxn ang="T59">
                        <a:pos x="T6" y="T7"/>
                      </a:cxn>
                      <a:cxn ang="T60">
                        <a:pos x="T8" y="T9"/>
                      </a:cxn>
                      <a:cxn ang="T61">
                        <a:pos x="T10" y="T11"/>
                      </a:cxn>
                      <a:cxn ang="T62">
                        <a:pos x="T12" y="T13"/>
                      </a:cxn>
                      <a:cxn ang="T63">
                        <a:pos x="T14" y="T15"/>
                      </a:cxn>
                      <a:cxn ang="T64">
                        <a:pos x="T16" y="T17"/>
                      </a:cxn>
                      <a:cxn ang="T65">
                        <a:pos x="T18" y="T19"/>
                      </a:cxn>
                      <a:cxn ang="T66">
                        <a:pos x="T20" y="T21"/>
                      </a:cxn>
                      <a:cxn ang="T67">
                        <a:pos x="T22" y="T23"/>
                      </a:cxn>
                      <a:cxn ang="T68">
                        <a:pos x="T24" y="T25"/>
                      </a:cxn>
                      <a:cxn ang="T69">
                        <a:pos x="T26" y="T27"/>
                      </a:cxn>
                      <a:cxn ang="T70">
                        <a:pos x="T28" y="T29"/>
                      </a:cxn>
                      <a:cxn ang="T71">
                        <a:pos x="T30" y="T31"/>
                      </a:cxn>
                      <a:cxn ang="T72">
                        <a:pos x="T32" y="T33"/>
                      </a:cxn>
                      <a:cxn ang="T73">
                        <a:pos x="T34" y="T35"/>
                      </a:cxn>
                      <a:cxn ang="T74">
                        <a:pos x="T36" y="T37"/>
                      </a:cxn>
                      <a:cxn ang="T75">
                        <a:pos x="T38" y="T39"/>
                      </a:cxn>
                      <a:cxn ang="T76">
                        <a:pos x="T40" y="T41"/>
                      </a:cxn>
                      <a:cxn ang="T77">
                        <a:pos x="T42" y="T43"/>
                      </a:cxn>
                      <a:cxn ang="T78">
                        <a:pos x="T44" y="T45"/>
                      </a:cxn>
                      <a:cxn ang="T79">
                        <a:pos x="T46" y="T47"/>
                      </a:cxn>
                      <a:cxn ang="T80">
                        <a:pos x="T48" y="T49"/>
                      </a:cxn>
                      <a:cxn ang="T81">
                        <a:pos x="T50" y="T51"/>
                      </a:cxn>
                      <a:cxn ang="T82">
                        <a:pos x="T52" y="T53"/>
                      </a:cxn>
                      <a:cxn ang="T83">
                        <a:pos x="T54" y="T55"/>
                      </a:cxn>
                    </a:cxnLst>
                    <a:rect l="T84" t="T85" r="T86" b="T87"/>
                    <a:pathLst>
                      <a:path w="414" h="513">
                        <a:moveTo>
                          <a:pt x="2" y="0"/>
                        </a:moveTo>
                        <a:lnTo>
                          <a:pt x="84" y="28"/>
                        </a:lnTo>
                        <a:lnTo>
                          <a:pt x="159" y="63"/>
                        </a:lnTo>
                        <a:lnTo>
                          <a:pt x="242" y="111"/>
                        </a:lnTo>
                        <a:lnTo>
                          <a:pt x="309" y="160"/>
                        </a:lnTo>
                        <a:lnTo>
                          <a:pt x="354" y="199"/>
                        </a:lnTo>
                        <a:lnTo>
                          <a:pt x="404" y="247"/>
                        </a:lnTo>
                        <a:lnTo>
                          <a:pt x="414" y="258"/>
                        </a:lnTo>
                        <a:lnTo>
                          <a:pt x="375" y="294"/>
                        </a:lnTo>
                        <a:lnTo>
                          <a:pt x="325" y="341"/>
                        </a:lnTo>
                        <a:lnTo>
                          <a:pt x="288" y="369"/>
                        </a:lnTo>
                        <a:lnTo>
                          <a:pt x="256" y="394"/>
                        </a:lnTo>
                        <a:lnTo>
                          <a:pt x="211" y="421"/>
                        </a:lnTo>
                        <a:lnTo>
                          <a:pt x="167" y="448"/>
                        </a:lnTo>
                        <a:lnTo>
                          <a:pt x="124" y="468"/>
                        </a:lnTo>
                        <a:lnTo>
                          <a:pt x="56" y="497"/>
                        </a:lnTo>
                        <a:lnTo>
                          <a:pt x="0" y="513"/>
                        </a:lnTo>
                        <a:lnTo>
                          <a:pt x="14" y="477"/>
                        </a:lnTo>
                        <a:lnTo>
                          <a:pt x="25" y="418"/>
                        </a:lnTo>
                        <a:lnTo>
                          <a:pt x="32" y="377"/>
                        </a:lnTo>
                        <a:lnTo>
                          <a:pt x="37" y="331"/>
                        </a:lnTo>
                        <a:lnTo>
                          <a:pt x="39" y="284"/>
                        </a:lnTo>
                        <a:lnTo>
                          <a:pt x="40" y="234"/>
                        </a:lnTo>
                        <a:lnTo>
                          <a:pt x="37" y="185"/>
                        </a:lnTo>
                        <a:lnTo>
                          <a:pt x="33" y="138"/>
                        </a:lnTo>
                        <a:lnTo>
                          <a:pt x="25" y="97"/>
                        </a:lnTo>
                        <a:lnTo>
                          <a:pt x="16" y="45"/>
                        </a:lnTo>
                        <a:lnTo>
                          <a:pt x="2" y="0"/>
                        </a:lnTo>
                        <a:close/>
                      </a:path>
                    </a:pathLst>
                  </a:custGeom>
                  <a:solidFill>
                    <a:schemeClr val="accent6"/>
                  </a:solidFill>
                  <a:ln w="6350" cap="flat" cmpd="sng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 wrap="none" lIns="0" tIns="0" rIns="0" bIns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</p:grpSp>
          </p:grpSp>
          <p:sp>
            <p:nvSpPr>
              <p:cNvPr id="111" name="Freeform 21"/>
              <p:cNvSpPr>
                <a:spLocks/>
              </p:cNvSpPr>
              <p:nvPr/>
            </p:nvSpPr>
            <p:spPr bwMode="auto">
              <a:xfrm>
                <a:off x="1896" y="2115"/>
                <a:ext cx="590" cy="590"/>
              </a:xfrm>
              <a:custGeom>
                <a:avLst/>
                <a:gdLst>
                  <a:gd name="T0" fmla="*/ 38 w 590"/>
                  <a:gd name="T1" fmla="*/ 36 h 590"/>
                  <a:gd name="T2" fmla="*/ 24 w 590"/>
                  <a:gd name="T3" fmla="*/ 87 h 590"/>
                  <a:gd name="T4" fmla="*/ 17 w 590"/>
                  <a:gd name="T5" fmla="*/ 125 h 590"/>
                  <a:gd name="T6" fmla="*/ 6 w 590"/>
                  <a:gd name="T7" fmla="*/ 185 h 590"/>
                  <a:gd name="T8" fmla="*/ 2 w 590"/>
                  <a:gd name="T9" fmla="*/ 234 h 590"/>
                  <a:gd name="T10" fmla="*/ 0 w 590"/>
                  <a:gd name="T11" fmla="*/ 282 h 590"/>
                  <a:gd name="T12" fmla="*/ 2 w 590"/>
                  <a:gd name="T13" fmla="*/ 323 h 590"/>
                  <a:gd name="T14" fmla="*/ 0 w 590"/>
                  <a:gd name="T15" fmla="*/ 354 h 590"/>
                  <a:gd name="T16" fmla="*/ 6 w 590"/>
                  <a:gd name="T17" fmla="*/ 395 h 590"/>
                  <a:gd name="T18" fmla="*/ 12 w 590"/>
                  <a:gd name="T19" fmla="*/ 438 h 590"/>
                  <a:gd name="T20" fmla="*/ 23 w 590"/>
                  <a:gd name="T21" fmla="*/ 497 h 590"/>
                  <a:gd name="T22" fmla="*/ 35 w 590"/>
                  <a:gd name="T23" fmla="*/ 543 h 590"/>
                  <a:gd name="T24" fmla="*/ 41 w 590"/>
                  <a:gd name="T25" fmla="*/ 554 h 590"/>
                  <a:gd name="T26" fmla="*/ 101 w 590"/>
                  <a:gd name="T27" fmla="*/ 569 h 590"/>
                  <a:gd name="T28" fmla="*/ 144 w 590"/>
                  <a:gd name="T29" fmla="*/ 578 h 590"/>
                  <a:gd name="T30" fmla="*/ 212 w 590"/>
                  <a:gd name="T31" fmla="*/ 587 h 590"/>
                  <a:gd name="T32" fmla="*/ 248 w 590"/>
                  <a:gd name="T33" fmla="*/ 588 h 590"/>
                  <a:gd name="T34" fmla="*/ 300 w 590"/>
                  <a:gd name="T35" fmla="*/ 590 h 590"/>
                  <a:gd name="T36" fmla="*/ 357 w 590"/>
                  <a:gd name="T37" fmla="*/ 587 h 590"/>
                  <a:gd name="T38" fmla="*/ 416 w 590"/>
                  <a:gd name="T39" fmla="*/ 581 h 590"/>
                  <a:gd name="T40" fmla="*/ 467 w 590"/>
                  <a:gd name="T41" fmla="*/ 573 h 590"/>
                  <a:gd name="T42" fmla="*/ 515 w 590"/>
                  <a:gd name="T43" fmla="*/ 563 h 590"/>
                  <a:gd name="T44" fmla="*/ 554 w 590"/>
                  <a:gd name="T45" fmla="*/ 551 h 590"/>
                  <a:gd name="T46" fmla="*/ 564 w 590"/>
                  <a:gd name="T47" fmla="*/ 506 h 590"/>
                  <a:gd name="T48" fmla="*/ 579 w 590"/>
                  <a:gd name="T49" fmla="*/ 428 h 590"/>
                  <a:gd name="T50" fmla="*/ 587 w 590"/>
                  <a:gd name="T51" fmla="*/ 356 h 590"/>
                  <a:gd name="T52" fmla="*/ 590 w 590"/>
                  <a:gd name="T53" fmla="*/ 302 h 590"/>
                  <a:gd name="T54" fmla="*/ 588 w 590"/>
                  <a:gd name="T55" fmla="*/ 252 h 590"/>
                  <a:gd name="T56" fmla="*/ 584 w 590"/>
                  <a:gd name="T57" fmla="*/ 194 h 590"/>
                  <a:gd name="T58" fmla="*/ 576 w 590"/>
                  <a:gd name="T59" fmla="*/ 144 h 590"/>
                  <a:gd name="T60" fmla="*/ 564 w 590"/>
                  <a:gd name="T61" fmla="*/ 84 h 590"/>
                  <a:gd name="T62" fmla="*/ 551 w 590"/>
                  <a:gd name="T63" fmla="*/ 36 h 590"/>
                  <a:gd name="T64" fmla="*/ 512 w 590"/>
                  <a:gd name="T65" fmla="*/ 27 h 590"/>
                  <a:gd name="T66" fmla="*/ 459 w 590"/>
                  <a:gd name="T67" fmla="*/ 14 h 590"/>
                  <a:gd name="T68" fmla="*/ 405 w 590"/>
                  <a:gd name="T69" fmla="*/ 6 h 590"/>
                  <a:gd name="T70" fmla="*/ 366 w 590"/>
                  <a:gd name="T71" fmla="*/ 2 h 590"/>
                  <a:gd name="T72" fmla="*/ 318 w 590"/>
                  <a:gd name="T73" fmla="*/ 0 h 590"/>
                  <a:gd name="T74" fmla="*/ 258 w 590"/>
                  <a:gd name="T75" fmla="*/ 0 h 590"/>
                  <a:gd name="T76" fmla="*/ 210 w 590"/>
                  <a:gd name="T77" fmla="*/ 3 h 590"/>
                  <a:gd name="T78" fmla="*/ 167 w 590"/>
                  <a:gd name="T79" fmla="*/ 9 h 590"/>
                  <a:gd name="T80" fmla="*/ 116 w 590"/>
                  <a:gd name="T81" fmla="*/ 18 h 590"/>
                  <a:gd name="T82" fmla="*/ 81 w 590"/>
                  <a:gd name="T83" fmla="*/ 24 h 590"/>
                  <a:gd name="T84" fmla="*/ 38 w 590"/>
                  <a:gd name="T85" fmla="*/ 36 h 590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590"/>
                  <a:gd name="T130" fmla="*/ 0 h 590"/>
                  <a:gd name="T131" fmla="*/ 590 w 590"/>
                  <a:gd name="T132" fmla="*/ 590 h 590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590" h="590">
                    <a:moveTo>
                      <a:pt x="38" y="36"/>
                    </a:moveTo>
                    <a:lnTo>
                      <a:pt x="24" y="87"/>
                    </a:lnTo>
                    <a:lnTo>
                      <a:pt x="17" y="125"/>
                    </a:lnTo>
                    <a:lnTo>
                      <a:pt x="6" y="185"/>
                    </a:lnTo>
                    <a:lnTo>
                      <a:pt x="2" y="234"/>
                    </a:lnTo>
                    <a:lnTo>
                      <a:pt x="0" y="282"/>
                    </a:lnTo>
                    <a:lnTo>
                      <a:pt x="2" y="323"/>
                    </a:lnTo>
                    <a:lnTo>
                      <a:pt x="0" y="354"/>
                    </a:lnTo>
                    <a:lnTo>
                      <a:pt x="6" y="395"/>
                    </a:lnTo>
                    <a:lnTo>
                      <a:pt x="12" y="438"/>
                    </a:lnTo>
                    <a:lnTo>
                      <a:pt x="23" y="497"/>
                    </a:lnTo>
                    <a:lnTo>
                      <a:pt x="35" y="543"/>
                    </a:lnTo>
                    <a:lnTo>
                      <a:pt x="41" y="554"/>
                    </a:lnTo>
                    <a:lnTo>
                      <a:pt x="101" y="569"/>
                    </a:lnTo>
                    <a:lnTo>
                      <a:pt x="144" y="578"/>
                    </a:lnTo>
                    <a:lnTo>
                      <a:pt x="212" y="587"/>
                    </a:lnTo>
                    <a:lnTo>
                      <a:pt x="248" y="588"/>
                    </a:lnTo>
                    <a:lnTo>
                      <a:pt x="300" y="590"/>
                    </a:lnTo>
                    <a:lnTo>
                      <a:pt x="357" y="587"/>
                    </a:lnTo>
                    <a:lnTo>
                      <a:pt x="416" y="581"/>
                    </a:lnTo>
                    <a:lnTo>
                      <a:pt x="467" y="573"/>
                    </a:lnTo>
                    <a:lnTo>
                      <a:pt x="515" y="563"/>
                    </a:lnTo>
                    <a:lnTo>
                      <a:pt x="554" y="551"/>
                    </a:lnTo>
                    <a:lnTo>
                      <a:pt x="564" y="506"/>
                    </a:lnTo>
                    <a:lnTo>
                      <a:pt x="579" y="428"/>
                    </a:lnTo>
                    <a:lnTo>
                      <a:pt x="587" y="356"/>
                    </a:lnTo>
                    <a:lnTo>
                      <a:pt x="590" y="302"/>
                    </a:lnTo>
                    <a:lnTo>
                      <a:pt x="588" y="252"/>
                    </a:lnTo>
                    <a:lnTo>
                      <a:pt x="584" y="194"/>
                    </a:lnTo>
                    <a:lnTo>
                      <a:pt x="576" y="144"/>
                    </a:lnTo>
                    <a:lnTo>
                      <a:pt x="564" y="84"/>
                    </a:lnTo>
                    <a:lnTo>
                      <a:pt x="551" y="36"/>
                    </a:lnTo>
                    <a:lnTo>
                      <a:pt x="512" y="27"/>
                    </a:lnTo>
                    <a:lnTo>
                      <a:pt x="459" y="14"/>
                    </a:lnTo>
                    <a:lnTo>
                      <a:pt x="405" y="6"/>
                    </a:lnTo>
                    <a:lnTo>
                      <a:pt x="366" y="2"/>
                    </a:lnTo>
                    <a:lnTo>
                      <a:pt x="318" y="0"/>
                    </a:lnTo>
                    <a:lnTo>
                      <a:pt x="258" y="0"/>
                    </a:lnTo>
                    <a:lnTo>
                      <a:pt x="210" y="3"/>
                    </a:lnTo>
                    <a:lnTo>
                      <a:pt x="167" y="9"/>
                    </a:lnTo>
                    <a:lnTo>
                      <a:pt x="116" y="18"/>
                    </a:lnTo>
                    <a:lnTo>
                      <a:pt x="81" y="24"/>
                    </a:lnTo>
                    <a:lnTo>
                      <a:pt x="38" y="36"/>
                    </a:lnTo>
                    <a:close/>
                  </a:path>
                </a:pathLst>
              </a:custGeom>
              <a:solidFill>
                <a:schemeClr val="accent5"/>
              </a:solidFill>
              <a:ln w="6350" cap="flat" cmpd="sng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grpSp>
            <p:nvGrpSpPr>
              <p:cNvPr id="116" name="Group 26"/>
              <p:cNvGrpSpPr>
                <a:grpSpLocks/>
              </p:cNvGrpSpPr>
              <p:nvPr/>
            </p:nvGrpSpPr>
            <p:grpSpPr bwMode="auto">
              <a:xfrm>
                <a:off x="671" y="890"/>
                <a:ext cx="3039" cy="3039"/>
                <a:chOff x="671" y="890"/>
                <a:chExt cx="3039" cy="3039"/>
              </a:xfrm>
            </p:grpSpPr>
            <p:grpSp>
              <p:nvGrpSpPr>
                <p:cNvPr id="117" name="Group 27"/>
                <p:cNvGrpSpPr>
                  <a:grpSpLocks/>
                </p:cNvGrpSpPr>
                <p:nvPr/>
              </p:nvGrpSpPr>
              <p:grpSpPr bwMode="auto">
                <a:xfrm>
                  <a:off x="1283" y="890"/>
                  <a:ext cx="1814" cy="3039"/>
                  <a:chOff x="1271" y="890"/>
                  <a:chExt cx="1814" cy="3039"/>
                </a:xfrm>
              </p:grpSpPr>
              <p:sp>
                <p:nvSpPr>
                  <p:cNvPr id="121" name="_s1034"/>
                  <p:cNvSpPr>
                    <a:spLocks noChangeArrowheads="1" noTextEdit="1"/>
                  </p:cNvSpPr>
                  <p:nvPr>
                    <p:custDataLst>
                      <p:tags r:id="rId7"/>
                    </p:custDataLst>
                  </p:nvPr>
                </p:nvSpPr>
                <p:spPr bwMode="gray">
                  <a:xfrm>
                    <a:off x="1271" y="2115"/>
                    <a:ext cx="1814" cy="1814"/>
                  </a:xfrm>
                  <a:prstGeom prst="ellipse">
                    <a:avLst/>
                  </a:prstGeom>
                  <a:noFill/>
                  <a:ln w="6350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 lIns="0" tIns="0" rIns="0" bIns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122" name="_s1034"/>
                  <p:cNvSpPr>
                    <a:spLocks noChangeArrowheads="1" noTextEdit="1"/>
                  </p:cNvSpPr>
                  <p:nvPr>
                    <p:custDataLst>
                      <p:tags r:id="rId8"/>
                    </p:custDataLst>
                  </p:nvPr>
                </p:nvSpPr>
                <p:spPr bwMode="gray">
                  <a:xfrm>
                    <a:off x="1271" y="890"/>
                    <a:ext cx="1814" cy="1814"/>
                  </a:xfrm>
                  <a:prstGeom prst="ellipse">
                    <a:avLst/>
                  </a:prstGeom>
                  <a:noFill/>
                  <a:ln w="6350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 lIns="0" tIns="0" rIns="0" bIns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</p:grpSp>
            <p:grpSp>
              <p:nvGrpSpPr>
                <p:cNvPr id="118" name="Group 30"/>
                <p:cNvGrpSpPr>
                  <a:grpSpLocks/>
                </p:cNvGrpSpPr>
                <p:nvPr/>
              </p:nvGrpSpPr>
              <p:grpSpPr bwMode="auto">
                <a:xfrm>
                  <a:off x="671" y="1503"/>
                  <a:ext cx="3039" cy="1814"/>
                  <a:chOff x="671" y="1503"/>
                  <a:chExt cx="3039" cy="1814"/>
                </a:xfrm>
              </p:grpSpPr>
              <p:sp>
                <p:nvSpPr>
                  <p:cNvPr id="119" name="_s1034"/>
                  <p:cNvSpPr>
                    <a:spLocks noChangeArrowheads="1" noTextEdit="1"/>
                  </p:cNvSpPr>
                  <p:nvPr>
                    <p:custDataLst>
                      <p:tags r:id="rId5"/>
                    </p:custDataLst>
                  </p:nvPr>
                </p:nvSpPr>
                <p:spPr bwMode="gray">
                  <a:xfrm rot="-5400000">
                    <a:off x="1896" y="1503"/>
                    <a:ext cx="1814" cy="1814"/>
                  </a:xfrm>
                  <a:prstGeom prst="ellipse">
                    <a:avLst/>
                  </a:prstGeom>
                  <a:noFill/>
                  <a:ln w="6350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 lIns="0" tIns="0" rIns="0" bIns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  <p:sp>
                <p:nvSpPr>
                  <p:cNvPr id="120" name="_s1034"/>
                  <p:cNvSpPr>
                    <a:spLocks noChangeArrowheads="1" noTextEdit="1"/>
                  </p:cNvSpPr>
                  <p:nvPr>
                    <p:custDataLst>
                      <p:tags r:id="rId6"/>
                    </p:custDataLst>
                  </p:nvPr>
                </p:nvSpPr>
                <p:spPr bwMode="gray">
                  <a:xfrm rot="-5400000">
                    <a:off x="671" y="1503"/>
                    <a:ext cx="1814" cy="1814"/>
                  </a:xfrm>
                  <a:prstGeom prst="ellipse">
                    <a:avLst/>
                  </a:prstGeom>
                  <a:noFill/>
                  <a:ln w="6350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 lIns="0" tIns="0" rIns="0" bIns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uLnTx/>
                      <a:uFillTx/>
                      <a:latin typeface="+mj-lt"/>
                    </a:endParaRPr>
                  </a:p>
                </p:txBody>
              </p:sp>
            </p:grpSp>
          </p:grpSp>
        </p:grpSp>
        <p:sp>
          <p:nvSpPr>
            <p:cNvPr id="2" name="TextBox 1"/>
            <p:cNvSpPr txBox="1"/>
            <p:nvPr/>
          </p:nvSpPr>
          <p:spPr>
            <a:xfrm>
              <a:off x="3629963" y="2168198"/>
              <a:ext cx="942039" cy="3118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1400" b="1" smtClean="0">
                  <a:latin typeface="Arial" charset="0"/>
                  <a:ea typeface="Arial" charset="0"/>
                  <a:cs typeface="Arial" charset="0"/>
                </a:rPr>
                <a:t>SIFT(100)</a:t>
              </a:r>
              <a:endParaRPr lang="en-US" sz="1400" b="1" dirty="0" smtClean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2" name="TextBox 131"/>
            <p:cNvSpPr txBox="1"/>
            <p:nvPr/>
          </p:nvSpPr>
          <p:spPr>
            <a:xfrm>
              <a:off x="2050617" y="3712340"/>
              <a:ext cx="827396" cy="3118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1400" b="1" smtClean="0">
                  <a:latin typeface="Arial" charset="0"/>
                  <a:ea typeface="Arial" charset="0"/>
                  <a:cs typeface="Arial" charset="0"/>
                </a:rPr>
                <a:t>LBP(59)</a:t>
              </a:r>
              <a:endParaRPr lang="en-US" sz="1400" b="1" dirty="0" smtClean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3" name="TextBox 132"/>
            <p:cNvSpPr txBox="1"/>
            <p:nvPr/>
          </p:nvSpPr>
          <p:spPr>
            <a:xfrm>
              <a:off x="5340411" y="3672270"/>
              <a:ext cx="827396" cy="3118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1400" b="1" smtClean="0">
                  <a:latin typeface="Arial" charset="0"/>
                  <a:ea typeface="Arial" charset="0"/>
                  <a:cs typeface="Arial" charset="0"/>
                </a:rPr>
                <a:t>HOG</a:t>
              </a:r>
              <a:r>
                <a:rPr lang="en-US" altLang="zh-CN" sz="1400" b="1" smtClean="0">
                  <a:latin typeface="Arial" charset="0"/>
                  <a:ea typeface="Arial" charset="0"/>
                  <a:cs typeface="Arial" charset="0"/>
                </a:rPr>
                <a:t>(108)</a:t>
              </a:r>
              <a:endParaRPr lang="en-US" sz="1400" b="1" dirty="0" smtClean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4" name="TextBox 133"/>
            <p:cNvSpPr txBox="1"/>
            <p:nvPr/>
          </p:nvSpPr>
          <p:spPr>
            <a:xfrm>
              <a:off x="3558527" y="5242055"/>
              <a:ext cx="1013475" cy="3118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900"/>
                </a:spcAft>
              </a:pPr>
              <a:r>
                <a:rPr lang="en-US" altLang="zh-CN" sz="1200" b="1" smtClean="0">
                  <a:latin typeface="Arial" charset="0"/>
                  <a:ea typeface="Arial" charset="0"/>
                  <a:cs typeface="Arial" charset="0"/>
                </a:rPr>
                <a:t>COLOR</a:t>
              </a:r>
              <a:r>
                <a:rPr lang="en-US" altLang="zh-CN" sz="1200" b="1" smtClean="0">
                  <a:latin typeface="Arial" charset="0"/>
                  <a:ea typeface="Arial" charset="0"/>
                  <a:cs typeface="Arial" charset="0"/>
                </a:rPr>
                <a:t>(1000)</a:t>
              </a:r>
              <a:endParaRPr lang="en-US" sz="1200" b="1" dirty="0" smtClean="0"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135" name="Right Arrow 134"/>
          <p:cNvSpPr/>
          <p:nvPr/>
        </p:nvSpPr>
        <p:spPr bwMode="ltGray">
          <a:xfrm>
            <a:off x="5395599" y="3545405"/>
            <a:ext cx="447021" cy="690306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36" name="Rectangle 188"/>
          <p:cNvSpPr>
            <a:spLocks noChangeArrowheads="1"/>
          </p:cNvSpPr>
          <p:nvPr/>
        </p:nvSpPr>
        <p:spPr bwMode="auto">
          <a:xfrm>
            <a:off x="5956832" y="3356992"/>
            <a:ext cx="2653771" cy="955440"/>
          </a:xfrm>
          <a:prstGeom prst="rect">
            <a:avLst/>
          </a:prstGeom>
          <a:noFill/>
          <a:ln w="9525">
            <a:solidFill>
              <a:schemeClr val="accent5"/>
            </a:solidFill>
            <a:miter lim="800000"/>
            <a:headEnd/>
            <a:tailEnd/>
          </a:ln>
        </p:spPr>
        <p:txBody>
          <a:bodyPr vert="horz" wrap="square" lIns="72000" tIns="72000" rIns="36000" bIns="36000" numCol="1" anchor="ctr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798513" eaLnBrk="0" hangingPunct="0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500" b="1" dirty="0" smtClean="0">
                <a:latin typeface="Arial" panose="020B0604020202020204" pitchFamily="34" charset="0"/>
              </a:rPr>
              <a:t>Best</a:t>
            </a:r>
            <a:r>
              <a:rPr lang="zh-CN" altLang="en-US" sz="1500" b="1" dirty="0" smtClean="0">
                <a:latin typeface="Arial" panose="020B0604020202020204" pitchFamily="34" charset="0"/>
              </a:rPr>
              <a:t> </a:t>
            </a:r>
            <a:r>
              <a:rPr lang="en-US" altLang="zh-CN" sz="1500" b="1" dirty="0" smtClean="0">
                <a:latin typeface="Arial" panose="020B0604020202020204" pitchFamily="34" charset="0"/>
              </a:rPr>
              <a:t>Combined</a:t>
            </a:r>
            <a:r>
              <a:rPr lang="zh-CN" altLang="en-US" sz="1500" b="1" dirty="0" smtClean="0">
                <a:latin typeface="Arial" panose="020B0604020202020204" pitchFamily="34" charset="0"/>
              </a:rPr>
              <a:t> </a:t>
            </a:r>
            <a:r>
              <a:rPr lang="en-US" altLang="zh-CN" sz="1500" b="1" dirty="0" smtClean="0">
                <a:latin typeface="Arial" panose="020B0604020202020204" pitchFamily="34" charset="0"/>
              </a:rPr>
              <a:t>Features:</a:t>
            </a:r>
          </a:p>
          <a:p>
            <a:pPr marL="285750" indent="-285750" defTabSz="798513" eaLnBrk="0" hangingPunct="0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500" b="1" dirty="0" smtClean="0">
                <a:solidFill>
                  <a:srgbClr val="C00000"/>
                </a:solidFill>
                <a:latin typeface="Arial" panose="020B0604020202020204" pitchFamily="34" charset="0"/>
              </a:rPr>
              <a:t>SIFT</a:t>
            </a:r>
            <a:r>
              <a:rPr lang="zh-CN" altLang="en-US" sz="1500" b="1" dirty="0" smtClean="0">
                <a:solidFill>
                  <a:srgbClr val="C00000"/>
                </a:solidFill>
                <a:latin typeface="Arial" panose="020B0604020202020204" pitchFamily="34" charset="0"/>
              </a:rPr>
              <a:t> </a:t>
            </a:r>
            <a:r>
              <a:rPr lang="en-US" altLang="zh-CN" sz="1500" b="1" dirty="0" smtClean="0">
                <a:solidFill>
                  <a:srgbClr val="C00000"/>
                </a:solidFill>
                <a:latin typeface="Arial" panose="020B0604020202020204" pitchFamily="34" charset="0"/>
              </a:rPr>
              <a:t>+</a:t>
            </a:r>
            <a:r>
              <a:rPr lang="zh-CN" altLang="en-US" sz="1500" b="1" dirty="0" smtClean="0">
                <a:solidFill>
                  <a:srgbClr val="C00000"/>
                </a:solidFill>
                <a:latin typeface="Arial" panose="020B0604020202020204" pitchFamily="34" charset="0"/>
              </a:rPr>
              <a:t> </a:t>
            </a:r>
            <a:r>
              <a:rPr lang="en-US" altLang="zh-CN" sz="1500" b="1" dirty="0" smtClean="0">
                <a:solidFill>
                  <a:srgbClr val="C00000"/>
                </a:solidFill>
                <a:latin typeface="Arial" panose="020B0604020202020204" pitchFamily="34" charset="0"/>
              </a:rPr>
              <a:t>HOG</a:t>
            </a:r>
          </a:p>
        </p:txBody>
      </p:sp>
    </p:spTree>
    <p:extLst>
      <p:ext uri="{BB962C8B-B14F-4D97-AF65-F5344CB8AC3E}">
        <p14:creationId xmlns:p14="http://schemas.microsoft.com/office/powerpoint/2010/main" val="757070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标题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6043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86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145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>
          <a:prstGeom prst="rect">
            <a:avLst/>
          </a:prstGeom>
        </p:spPr>
        <p:txBody>
          <a:bodyPr/>
          <a:lstStyle/>
          <a:p>
            <a:fld id="{FEBD7F86-1881-4698-8703-FB80B0800997}" type="slidenum">
              <a:rPr lang="en-GB" sz="907"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en-GB" sz="90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532800" y="687600"/>
            <a:ext cx="8179724" cy="5422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61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i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en-US" altLang="zh-CN" sz="2400" dirty="0" smtClean="0">
                <a:latin typeface="+mj-lt"/>
              </a:rPr>
              <a:t>3.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Model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Selection</a:t>
            </a:r>
            <a:endParaRPr lang="en-GB" sz="24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18875" y="1954560"/>
            <a:ext cx="2124933" cy="394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endParaRPr lang="en-US" sz="1600" b="1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3" name="Pentagon 32"/>
          <p:cNvSpPr/>
          <p:nvPr/>
        </p:nvSpPr>
        <p:spPr bwMode="ltGray">
          <a:xfrm>
            <a:off x="7086600" y="335869"/>
            <a:ext cx="1554480" cy="212811"/>
          </a:xfrm>
          <a:prstGeom prst="homePlate">
            <a:avLst/>
          </a:prstGeom>
          <a:solidFill>
            <a:srgbClr val="A3202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ion</a:t>
            </a:r>
            <a:endParaRPr lang="en-GB" sz="78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3092276" y="1600200"/>
            <a:ext cx="5040560" cy="4349080"/>
            <a:chOff x="3111596" y="1542951"/>
            <a:chExt cx="5861197" cy="5072911"/>
          </a:xfrm>
        </p:grpSpPr>
        <p:sp>
          <p:nvSpPr>
            <p:cNvPr id="14" name="Teardrop 13"/>
            <p:cNvSpPr/>
            <p:nvPr/>
          </p:nvSpPr>
          <p:spPr bwMode="ltGray">
            <a:xfrm rot="18900000">
              <a:off x="3175821" y="3071091"/>
              <a:ext cx="1083205" cy="1083205"/>
            </a:xfrm>
            <a:prstGeom prst="teardrop">
              <a:avLst>
                <a:gd name="adj" fmla="val 200000"/>
              </a:avLst>
            </a:prstGeom>
            <a:solidFill>
              <a:schemeClr val="bg1"/>
            </a:solidFill>
            <a:ln w="28575">
              <a:solidFill>
                <a:srgbClr val="968C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Teardrop 14"/>
            <p:cNvSpPr/>
            <p:nvPr/>
          </p:nvSpPr>
          <p:spPr bwMode="ltGray">
            <a:xfrm rot="18900000">
              <a:off x="3287212" y="3189751"/>
              <a:ext cx="860425" cy="860425"/>
            </a:xfrm>
            <a:prstGeom prst="teardrop">
              <a:avLst>
                <a:gd name="adj" fmla="val 141932"/>
              </a:avLst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111596" y="3403669"/>
              <a:ext cx="1224136" cy="987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Aft>
                  <a:spcPts val="770"/>
                </a:spcAft>
              </a:pPr>
              <a:r>
                <a:rPr lang="en-US" altLang="zh-CN" sz="1000" b="1" i="1" dirty="0" smtClean="0">
                  <a:solidFill>
                    <a:schemeClr val="bg1"/>
                  </a:solidFill>
                  <a:latin typeface="+mj-lt"/>
                </a:rPr>
                <a:t>Logistic</a:t>
              </a:r>
              <a:r>
                <a:rPr lang="zh-CN" altLang="en-US" sz="1000" b="1" i="1" dirty="0" smtClean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altLang="zh-CN" sz="1000" b="1" i="1" dirty="0" smtClean="0">
                  <a:solidFill>
                    <a:schemeClr val="bg1"/>
                  </a:solidFill>
                  <a:latin typeface="+mj-lt"/>
                </a:rPr>
                <a:t>Regression</a:t>
              </a:r>
              <a:endParaRPr lang="en-GB" sz="1000" b="1" i="1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17" name="Straight Connector 16"/>
            <p:cNvCxnSpPr/>
            <p:nvPr/>
          </p:nvCxnSpPr>
          <p:spPr>
            <a:xfrm flipV="1">
              <a:off x="3717423" y="1542951"/>
              <a:ext cx="0" cy="444341"/>
            </a:xfrm>
            <a:prstGeom prst="line">
              <a:avLst/>
            </a:prstGeom>
            <a:ln w="19050">
              <a:solidFill>
                <a:srgbClr val="968C6D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/>
            <p:cNvSpPr txBox="1"/>
            <p:nvPr/>
          </p:nvSpPr>
          <p:spPr>
            <a:xfrm>
              <a:off x="3332693" y="4368735"/>
              <a:ext cx="999430" cy="728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US" altLang="zh-CN" sz="900" b="1" i="1" dirty="0" smtClean="0">
                  <a:solidFill>
                    <a:schemeClr val="accent5"/>
                  </a:solidFill>
                  <a:latin typeface="+mj-lt"/>
                </a:rPr>
                <a:t>Logistic</a:t>
              </a:r>
              <a:r>
                <a:rPr lang="zh-CN" altLang="en-US" sz="900" b="1" i="1" dirty="0" smtClean="0">
                  <a:solidFill>
                    <a:schemeClr val="accent5"/>
                  </a:solidFill>
                  <a:latin typeface="+mj-lt"/>
                </a:rPr>
                <a:t> </a:t>
              </a:r>
              <a:r>
                <a:rPr lang="en-US" altLang="zh-CN" sz="900" b="1" i="1" dirty="0" smtClean="0">
                  <a:solidFill>
                    <a:schemeClr val="accent5"/>
                  </a:solidFill>
                  <a:latin typeface="+mj-lt"/>
                </a:rPr>
                <a:t>Regression</a:t>
              </a:r>
              <a:endParaRPr lang="en-GB" altLang="zh-CN" sz="900" dirty="0" smtClean="0">
                <a:latin typeface="+mj-lt"/>
              </a:endParaRPr>
            </a:p>
            <a:p>
              <a:pPr>
                <a:spcAft>
                  <a:spcPts val="770"/>
                </a:spcAft>
              </a:pPr>
              <a:r>
                <a:rPr lang="en-GB" altLang="zh-CN" sz="900" b="1" i="1" dirty="0" smtClean="0">
                  <a:solidFill>
                    <a:schemeClr val="accent5"/>
                  </a:solidFill>
                  <a:latin typeface="+mj-lt"/>
                </a:rPr>
                <a:t>W</a:t>
              </a:r>
              <a:r>
                <a:rPr lang="en-US" altLang="zh-CN" sz="900" b="1" i="1" dirty="0" err="1" smtClean="0">
                  <a:solidFill>
                    <a:schemeClr val="accent5"/>
                  </a:solidFill>
                  <a:latin typeface="+mj-lt"/>
                </a:rPr>
                <a:t>ith</a:t>
              </a:r>
              <a:r>
                <a:rPr lang="zh-CN" altLang="en-US" sz="900" b="1" i="1" dirty="0" smtClean="0">
                  <a:solidFill>
                    <a:schemeClr val="accent5"/>
                  </a:solidFill>
                  <a:latin typeface="+mj-lt"/>
                </a:rPr>
                <a:t> </a:t>
              </a:r>
              <a:r>
                <a:rPr lang="en-US" altLang="zh-CN" sz="900" b="1" i="1" dirty="0" smtClean="0">
                  <a:solidFill>
                    <a:schemeClr val="accent5"/>
                  </a:solidFill>
                  <a:latin typeface="+mj-lt"/>
                </a:rPr>
                <a:t>threshold:</a:t>
              </a:r>
              <a:r>
                <a:rPr lang="zh-CN" altLang="en-US" sz="900" b="1" i="1" dirty="0" smtClean="0">
                  <a:solidFill>
                    <a:schemeClr val="accent5"/>
                  </a:solidFill>
                  <a:latin typeface="+mj-lt"/>
                </a:rPr>
                <a:t> </a:t>
              </a:r>
              <a:r>
                <a:rPr lang="en-US" altLang="zh-CN" sz="900" b="1" i="1" dirty="0" smtClean="0">
                  <a:solidFill>
                    <a:schemeClr val="accent5"/>
                  </a:solidFill>
                  <a:latin typeface="+mj-lt"/>
                </a:rPr>
                <a:t>0.5</a:t>
              </a:r>
              <a:endParaRPr lang="en-GB" sz="900" b="1" i="1" dirty="0">
                <a:solidFill>
                  <a:schemeClr val="accent5"/>
                </a:solidFill>
                <a:latin typeface="+mj-lt"/>
              </a:endParaRPr>
            </a:p>
          </p:txBody>
        </p:sp>
        <p:sp>
          <p:nvSpPr>
            <p:cNvPr id="19" name="Teardrop 18"/>
            <p:cNvSpPr/>
            <p:nvPr/>
          </p:nvSpPr>
          <p:spPr bwMode="ltGray">
            <a:xfrm rot="18900000">
              <a:off x="4817585" y="3930551"/>
              <a:ext cx="1083205" cy="1083205"/>
            </a:xfrm>
            <a:prstGeom prst="teardrop">
              <a:avLst>
                <a:gd name="adj" fmla="val 200000"/>
              </a:avLst>
            </a:prstGeom>
            <a:solidFill>
              <a:schemeClr val="bg1"/>
            </a:solidFill>
            <a:ln w="28575">
              <a:solidFill>
                <a:srgbClr val="968C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0" name="Teardrop 19"/>
            <p:cNvSpPr/>
            <p:nvPr/>
          </p:nvSpPr>
          <p:spPr bwMode="ltGray">
            <a:xfrm rot="18900000">
              <a:off x="4928976" y="4049211"/>
              <a:ext cx="860425" cy="860425"/>
            </a:xfrm>
            <a:prstGeom prst="teardrop">
              <a:avLst>
                <a:gd name="adj" fmla="val 141932"/>
              </a:avLst>
            </a:prstGeom>
            <a:solidFill>
              <a:schemeClr val="accent4">
                <a:lumMod val="75000"/>
              </a:schemeClr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753114" y="4277667"/>
              <a:ext cx="1224136" cy="987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Aft>
                  <a:spcPts val="770"/>
                </a:spcAft>
              </a:pPr>
              <a:r>
                <a:rPr lang="en-US" altLang="zh-CN" sz="1200" b="1" i="1" dirty="0" smtClean="0">
                  <a:solidFill>
                    <a:schemeClr val="bg1"/>
                  </a:solidFill>
                  <a:latin typeface="+mj-lt"/>
                </a:rPr>
                <a:t>Random</a:t>
              </a:r>
              <a:r>
                <a:rPr lang="zh-CN" altLang="en-US" sz="1200" b="1" i="1" dirty="0" smtClean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altLang="zh-CN" sz="1200" b="1" i="1" dirty="0" smtClean="0">
                  <a:solidFill>
                    <a:schemeClr val="bg1"/>
                  </a:solidFill>
                  <a:latin typeface="+mj-lt"/>
                </a:rPr>
                <a:t>Forest</a:t>
              </a:r>
              <a:endParaRPr lang="en-GB" sz="1200" b="1" i="1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22" name="Straight Connector 21"/>
            <p:cNvCxnSpPr/>
            <p:nvPr/>
          </p:nvCxnSpPr>
          <p:spPr>
            <a:xfrm flipV="1">
              <a:off x="5359187" y="1542951"/>
              <a:ext cx="0" cy="1303801"/>
            </a:xfrm>
            <a:prstGeom prst="line">
              <a:avLst/>
            </a:prstGeom>
            <a:ln w="19050">
              <a:solidFill>
                <a:srgbClr val="968C6D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/>
            <p:cNvSpPr txBox="1"/>
            <p:nvPr/>
          </p:nvSpPr>
          <p:spPr>
            <a:xfrm>
              <a:off x="5118176" y="5232900"/>
              <a:ext cx="999430" cy="728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US" altLang="zh-CN" sz="1000" b="1" i="1" dirty="0" smtClean="0">
                  <a:solidFill>
                    <a:schemeClr val="accent4">
                      <a:lumMod val="75000"/>
                    </a:schemeClr>
                  </a:solidFill>
                  <a:latin typeface="+mj-lt"/>
                </a:rPr>
                <a:t>Random</a:t>
              </a:r>
              <a:r>
                <a:rPr lang="zh-CN" altLang="en-US" sz="1000" b="1" i="1" dirty="0" smtClean="0">
                  <a:solidFill>
                    <a:schemeClr val="accent4">
                      <a:lumMod val="75000"/>
                    </a:schemeClr>
                  </a:solidFill>
                  <a:latin typeface="+mj-lt"/>
                </a:rPr>
                <a:t> </a:t>
              </a:r>
              <a:r>
                <a:rPr lang="en-US" altLang="zh-CN" sz="1000" b="1" i="1" dirty="0" smtClean="0">
                  <a:solidFill>
                    <a:schemeClr val="accent4">
                      <a:lumMod val="75000"/>
                    </a:schemeClr>
                  </a:solidFill>
                  <a:latin typeface="+mj-lt"/>
                </a:rPr>
                <a:t>Forest</a:t>
              </a:r>
            </a:p>
            <a:p>
              <a:pPr>
                <a:spcAft>
                  <a:spcPts val="770"/>
                </a:spcAft>
              </a:pPr>
              <a:r>
                <a:rPr lang="en-US" altLang="zh-CN" sz="1000" b="1" i="1" dirty="0" smtClean="0">
                  <a:solidFill>
                    <a:schemeClr val="accent4">
                      <a:lumMod val="75000"/>
                    </a:schemeClr>
                  </a:solidFill>
                  <a:latin typeface="+mj-lt"/>
                </a:rPr>
                <a:t>Tree:</a:t>
              </a:r>
              <a:r>
                <a:rPr lang="zh-CN" altLang="en-US" sz="1000" b="1" i="1" dirty="0" smtClean="0">
                  <a:solidFill>
                    <a:schemeClr val="accent4">
                      <a:lumMod val="75000"/>
                    </a:schemeClr>
                  </a:solidFill>
                  <a:latin typeface="+mj-lt"/>
                </a:rPr>
                <a:t> </a:t>
              </a:r>
              <a:r>
                <a:rPr lang="en-US" altLang="zh-CN" sz="1000" b="1" i="1" dirty="0">
                  <a:solidFill>
                    <a:schemeClr val="accent4">
                      <a:lumMod val="75000"/>
                    </a:schemeClr>
                  </a:solidFill>
                  <a:latin typeface="+mj-lt"/>
                </a:rPr>
                <a:t>4</a:t>
              </a:r>
              <a:r>
                <a:rPr lang="en-US" altLang="zh-CN" sz="1000" b="1" i="1" dirty="0" smtClean="0">
                  <a:solidFill>
                    <a:schemeClr val="accent4">
                      <a:lumMod val="75000"/>
                    </a:schemeClr>
                  </a:solidFill>
                  <a:latin typeface="+mj-lt"/>
                </a:rPr>
                <a:t>00</a:t>
              </a:r>
            </a:p>
          </p:txBody>
        </p:sp>
        <p:sp>
          <p:nvSpPr>
            <p:cNvPr id="24" name="Teardrop 23"/>
            <p:cNvSpPr/>
            <p:nvPr/>
          </p:nvSpPr>
          <p:spPr bwMode="ltGray">
            <a:xfrm rot="18900000">
              <a:off x="6448958" y="2842314"/>
              <a:ext cx="1083205" cy="1083205"/>
            </a:xfrm>
            <a:prstGeom prst="teardrop">
              <a:avLst>
                <a:gd name="adj" fmla="val 200000"/>
              </a:avLst>
            </a:prstGeom>
            <a:solidFill>
              <a:schemeClr val="bg1"/>
            </a:solidFill>
            <a:ln w="28575">
              <a:solidFill>
                <a:srgbClr val="968C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5" name="Teardrop 24"/>
            <p:cNvSpPr/>
            <p:nvPr/>
          </p:nvSpPr>
          <p:spPr bwMode="ltGray">
            <a:xfrm rot="18900000">
              <a:off x="6560349" y="2960974"/>
              <a:ext cx="860425" cy="860425"/>
            </a:xfrm>
            <a:prstGeom prst="teardrop">
              <a:avLst>
                <a:gd name="adj" fmla="val 141932"/>
              </a:avLst>
            </a:prstGeom>
            <a:solidFill>
              <a:schemeClr val="tx2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6403242" y="3200183"/>
              <a:ext cx="1224136" cy="987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Aft>
                  <a:spcPts val="770"/>
                </a:spcAft>
              </a:pPr>
              <a:r>
                <a:rPr lang="en-US" altLang="zh-CN" b="1" i="1" smtClean="0">
                  <a:solidFill>
                    <a:schemeClr val="bg1"/>
                  </a:solidFill>
                  <a:latin typeface="+mj-lt"/>
                </a:rPr>
                <a:t>SVM</a:t>
              </a:r>
              <a:endParaRPr lang="en-GB" b="1" i="1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28" name="Straight Connector 27"/>
            <p:cNvCxnSpPr/>
            <p:nvPr/>
          </p:nvCxnSpPr>
          <p:spPr>
            <a:xfrm flipV="1">
              <a:off x="6990560" y="1560829"/>
              <a:ext cx="0" cy="197687"/>
            </a:xfrm>
            <a:prstGeom prst="line">
              <a:avLst/>
            </a:prstGeom>
            <a:ln w="19050">
              <a:solidFill>
                <a:srgbClr val="968C6D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/>
            <p:cNvSpPr txBox="1"/>
            <p:nvPr/>
          </p:nvSpPr>
          <p:spPr>
            <a:xfrm>
              <a:off x="6515741" y="4179790"/>
              <a:ext cx="1201203" cy="728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GB" sz="1000" b="1" i="1" dirty="0">
                  <a:solidFill>
                    <a:schemeClr val="tx2"/>
                  </a:solidFill>
                  <a:latin typeface="+mj-lt"/>
                </a:rPr>
                <a:t>Support vector </a:t>
              </a:r>
              <a:r>
                <a:rPr lang="en-GB" sz="1000" b="1" i="1" dirty="0" smtClean="0">
                  <a:solidFill>
                    <a:schemeClr val="tx2"/>
                  </a:solidFill>
                  <a:latin typeface="+mj-lt"/>
                </a:rPr>
                <a:t>machine</a:t>
              </a:r>
              <a:endParaRPr lang="en-GB" sz="1000" b="1" i="1" dirty="0">
                <a:solidFill>
                  <a:schemeClr val="tx2"/>
                </a:solidFill>
                <a:latin typeface="+mj-lt"/>
              </a:endParaRPr>
            </a:p>
            <a:p>
              <a:pPr marL="171450" indent="-171450">
                <a:spcAft>
                  <a:spcPts val="770"/>
                </a:spcAft>
                <a:buFont typeface="Arial" charset="0"/>
                <a:buChar char="•"/>
              </a:pPr>
              <a:r>
                <a:rPr lang="en-US" altLang="zh-CN" sz="900" b="1" i="1" dirty="0" smtClean="0">
                  <a:solidFill>
                    <a:srgbClr val="C00000"/>
                  </a:solidFill>
                  <a:latin typeface="+mj-lt"/>
                </a:rPr>
                <a:t>Linear</a:t>
              </a:r>
              <a:r>
                <a:rPr lang="zh-CN" altLang="en-US" sz="900" b="1" i="1" dirty="0" smtClean="0">
                  <a:solidFill>
                    <a:srgbClr val="C00000"/>
                  </a:solidFill>
                  <a:latin typeface="+mj-lt"/>
                </a:rPr>
                <a:t> </a:t>
              </a:r>
              <a:r>
                <a:rPr lang="en-US" altLang="zh-CN" sz="900" b="1" i="1" dirty="0" smtClean="0">
                  <a:solidFill>
                    <a:srgbClr val="C00000"/>
                  </a:solidFill>
                  <a:latin typeface="+mj-lt"/>
                </a:rPr>
                <a:t>SVM</a:t>
              </a:r>
            </a:p>
            <a:p>
              <a:pPr marL="171450" indent="-171450">
                <a:spcAft>
                  <a:spcPts val="770"/>
                </a:spcAft>
                <a:buFont typeface="Arial" charset="0"/>
                <a:buChar char="•"/>
              </a:pPr>
              <a:r>
                <a:rPr lang="en-US" altLang="zh-CN" sz="900" b="1" i="1" dirty="0" smtClean="0">
                  <a:solidFill>
                    <a:srgbClr val="C00000"/>
                  </a:solidFill>
                  <a:latin typeface="+mj-lt"/>
                </a:rPr>
                <a:t>RBF</a:t>
              </a:r>
              <a:r>
                <a:rPr lang="zh-CN" altLang="en-US" sz="900" b="1" i="1" dirty="0" smtClean="0">
                  <a:solidFill>
                    <a:srgbClr val="C00000"/>
                  </a:solidFill>
                  <a:latin typeface="+mj-lt"/>
                </a:rPr>
                <a:t> </a:t>
              </a:r>
              <a:r>
                <a:rPr lang="en-US" altLang="zh-CN" sz="900" b="1" i="1" dirty="0" smtClean="0">
                  <a:solidFill>
                    <a:srgbClr val="C00000"/>
                  </a:solidFill>
                  <a:latin typeface="+mj-lt"/>
                </a:rPr>
                <a:t>SVM</a:t>
              </a:r>
              <a:endParaRPr lang="en-GB" sz="900" b="1" i="1" dirty="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30" name="Teardrop 29"/>
            <p:cNvSpPr/>
            <p:nvPr/>
          </p:nvSpPr>
          <p:spPr bwMode="ltGray">
            <a:xfrm rot="18900000">
              <a:off x="7819123" y="4696492"/>
              <a:ext cx="1083205" cy="1083205"/>
            </a:xfrm>
            <a:prstGeom prst="teardrop">
              <a:avLst>
                <a:gd name="adj" fmla="val 200000"/>
              </a:avLst>
            </a:prstGeom>
            <a:solidFill>
              <a:schemeClr val="bg1"/>
            </a:solidFill>
            <a:ln w="28575">
              <a:solidFill>
                <a:srgbClr val="968C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1" name="Teardrop 30"/>
            <p:cNvSpPr/>
            <p:nvPr/>
          </p:nvSpPr>
          <p:spPr bwMode="ltGray">
            <a:xfrm rot="18900000">
              <a:off x="7930514" y="4815152"/>
              <a:ext cx="860425" cy="860425"/>
            </a:xfrm>
            <a:prstGeom prst="teardrop">
              <a:avLst>
                <a:gd name="adj" fmla="val 141932"/>
              </a:avLst>
            </a:prstGeom>
            <a:solidFill>
              <a:srgbClr val="EB8C00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7748657" y="5044160"/>
              <a:ext cx="1224136" cy="987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Aft>
                  <a:spcPts val="770"/>
                </a:spcAft>
              </a:pPr>
              <a:r>
                <a:rPr lang="en-US" altLang="zh-CN" b="1" i="1" smtClean="0">
                  <a:solidFill>
                    <a:schemeClr val="bg1"/>
                  </a:solidFill>
                  <a:latin typeface="+mj-lt"/>
                </a:rPr>
                <a:t>CNN</a:t>
              </a:r>
              <a:endParaRPr lang="en-GB" b="1" i="1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35" name="Straight Connector 34"/>
            <p:cNvCxnSpPr/>
            <p:nvPr/>
          </p:nvCxnSpPr>
          <p:spPr>
            <a:xfrm flipV="1">
              <a:off x="8360725" y="1542951"/>
              <a:ext cx="0" cy="2069743"/>
            </a:xfrm>
            <a:prstGeom prst="line">
              <a:avLst/>
            </a:prstGeom>
            <a:ln w="19050">
              <a:solidFill>
                <a:srgbClr val="968C6D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/>
            <p:cNvSpPr txBox="1"/>
            <p:nvPr/>
          </p:nvSpPr>
          <p:spPr>
            <a:xfrm>
              <a:off x="7956731" y="5886940"/>
              <a:ext cx="999430" cy="7289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Aft>
                  <a:spcPts val="770"/>
                </a:spcAft>
              </a:pPr>
              <a:r>
                <a:rPr lang="en-GB" sz="1000" b="1" i="1" dirty="0">
                  <a:solidFill>
                    <a:srgbClr val="EB8C00"/>
                  </a:solidFill>
                  <a:latin typeface="+mj-lt"/>
                </a:rPr>
                <a:t>Convolutional Neural Network </a:t>
              </a:r>
              <a:endParaRPr lang="en-GB" sz="1000" b="1" i="1" dirty="0" smtClean="0">
                <a:solidFill>
                  <a:srgbClr val="EB8C00"/>
                </a:solidFill>
                <a:latin typeface="+mj-lt"/>
              </a:endParaRPr>
            </a:p>
          </p:txBody>
        </p:sp>
        <p:cxnSp>
          <p:nvCxnSpPr>
            <p:cNvPr id="42" name="Straight Connector 41"/>
            <p:cNvCxnSpPr/>
            <p:nvPr/>
          </p:nvCxnSpPr>
          <p:spPr>
            <a:xfrm>
              <a:off x="3202295" y="1542951"/>
              <a:ext cx="5753866" cy="0"/>
            </a:xfrm>
            <a:prstGeom prst="line">
              <a:avLst/>
            </a:prstGeom>
            <a:ln w="76200">
              <a:solidFill>
                <a:srgbClr val="968C6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TextBox 42"/>
          <p:cNvSpPr txBox="1"/>
          <p:nvPr/>
        </p:nvSpPr>
        <p:spPr>
          <a:xfrm>
            <a:off x="648488" y="1526805"/>
            <a:ext cx="2047599" cy="6249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770"/>
              </a:spcAft>
            </a:pPr>
            <a:r>
              <a:rPr lang="en-US" altLang="zh-CN" sz="1100" b="1" i="1" dirty="0" smtClean="0">
                <a:solidFill>
                  <a:schemeClr val="accent5"/>
                </a:solidFill>
                <a:latin typeface="+mj-lt"/>
              </a:rPr>
              <a:t>Baseline</a:t>
            </a:r>
            <a:r>
              <a:rPr lang="zh-CN" altLang="en-US" sz="1100" b="1" i="1" dirty="0" smtClean="0">
                <a:solidFill>
                  <a:schemeClr val="accent5"/>
                </a:solidFill>
                <a:latin typeface="+mj-lt"/>
              </a:rPr>
              <a:t> </a:t>
            </a:r>
            <a:r>
              <a:rPr lang="en-US" altLang="zh-CN" sz="1100" b="1" i="1" dirty="0" smtClean="0">
                <a:solidFill>
                  <a:schemeClr val="accent5"/>
                </a:solidFill>
                <a:latin typeface="+mj-lt"/>
              </a:rPr>
              <a:t>Model:</a:t>
            </a:r>
            <a:r>
              <a:rPr lang="zh-CN" altLang="en-US" sz="1100" b="1" i="1" dirty="0" smtClean="0">
                <a:solidFill>
                  <a:schemeClr val="accent5"/>
                </a:solidFill>
                <a:latin typeface="+mj-lt"/>
              </a:rPr>
              <a:t> </a:t>
            </a:r>
            <a:r>
              <a:rPr lang="en-US" altLang="zh-CN" sz="1100" b="1" i="1" dirty="0" smtClean="0">
                <a:solidFill>
                  <a:schemeClr val="accent5"/>
                </a:solidFill>
                <a:latin typeface="+mj-lt"/>
              </a:rPr>
              <a:t>GBM</a:t>
            </a:r>
          </a:p>
          <a:p>
            <a:pPr>
              <a:spcAft>
                <a:spcPts val="770"/>
              </a:spcAft>
            </a:pPr>
            <a:r>
              <a:rPr lang="en-US" sz="1100" b="1" i="1" dirty="0">
                <a:solidFill>
                  <a:schemeClr val="accent5"/>
                </a:solidFill>
                <a:latin typeface="+mj-lt"/>
              </a:rPr>
              <a:t>Gradient </a:t>
            </a:r>
            <a:r>
              <a:rPr lang="en-US" sz="1100" b="1" i="1" dirty="0" smtClean="0">
                <a:solidFill>
                  <a:schemeClr val="accent5"/>
                </a:solidFill>
                <a:latin typeface="+mj-lt"/>
              </a:rPr>
              <a:t>boosting</a:t>
            </a:r>
            <a:r>
              <a:rPr lang="zh-CN" altLang="en-US" sz="1100" b="1" i="1" dirty="0" smtClean="0">
                <a:solidFill>
                  <a:schemeClr val="accent5"/>
                </a:solidFill>
                <a:latin typeface="+mj-lt"/>
              </a:rPr>
              <a:t> </a:t>
            </a:r>
            <a:r>
              <a:rPr lang="en-US" altLang="zh-CN" sz="1100" b="1" i="1" dirty="0" smtClean="0">
                <a:solidFill>
                  <a:schemeClr val="accent5"/>
                </a:solidFill>
                <a:latin typeface="+mj-lt"/>
              </a:rPr>
              <a:t>Machine</a:t>
            </a:r>
          </a:p>
        </p:txBody>
      </p:sp>
      <p:sp>
        <p:nvSpPr>
          <p:cNvPr id="44" name="Right Arrow 43"/>
          <p:cNvSpPr/>
          <p:nvPr/>
        </p:nvSpPr>
        <p:spPr bwMode="ltGray">
          <a:xfrm rot="10800000">
            <a:off x="2609143" y="1413024"/>
            <a:ext cx="447021" cy="405006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430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标题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6043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86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145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>
          <a:prstGeom prst="rect">
            <a:avLst/>
          </a:prstGeom>
        </p:spPr>
        <p:txBody>
          <a:bodyPr/>
          <a:lstStyle/>
          <a:p>
            <a:fld id="{FEBD7F86-1881-4698-8703-FB80B0800997}" type="slidenum">
              <a:rPr lang="en-GB" sz="907">
                <a:latin typeface="Arial" panose="020B0604020202020204" pitchFamily="34" charset="0"/>
                <a:cs typeface="Arial" panose="020B0604020202020204" pitchFamily="34" charset="0"/>
              </a:rPr>
              <a:pPr/>
              <a:t>6</a:t>
            </a:fld>
            <a:endParaRPr lang="en-GB" sz="90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532800" y="687600"/>
            <a:ext cx="8179724" cy="5422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61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i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en-US" altLang="zh-CN" sz="2400" dirty="0" smtClean="0">
                <a:latin typeface="+mj-lt"/>
              </a:rPr>
              <a:t>4.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Model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Comparison</a:t>
            </a:r>
            <a:endParaRPr lang="en-GB" sz="24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18875" y="1954560"/>
            <a:ext cx="2124933" cy="394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endParaRPr lang="en-US" sz="1600" b="1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3" name="Pentagon 32"/>
          <p:cNvSpPr/>
          <p:nvPr/>
        </p:nvSpPr>
        <p:spPr bwMode="ltGray">
          <a:xfrm>
            <a:off x="7086600" y="335869"/>
            <a:ext cx="1554480" cy="212811"/>
          </a:xfrm>
          <a:prstGeom prst="homePlate">
            <a:avLst/>
          </a:prstGeom>
          <a:solidFill>
            <a:srgbClr val="A3202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78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ison</a:t>
            </a:r>
            <a:endParaRPr lang="en-GB" sz="78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718875" y="2632735"/>
            <a:ext cx="7841357" cy="2092409"/>
            <a:chOff x="718875" y="1952077"/>
            <a:chExt cx="7841357" cy="2092409"/>
          </a:xfrm>
        </p:grpSpPr>
        <p:sp>
          <p:nvSpPr>
            <p:cNvPr id="37" name="Freeform 36"/>
            <p:cNvSpPr>
              <a:spLocks/>
            </p:cNvSpPr>
            <p:nvPr>
              <p:custDataLst>
                <p:tags r:id="rId1"/>
              </p:custDataLst>
            </p:nvPr>
          </p:nvSpPr>
          <p:spPr bwMode="blackWhite">
            <a:xfrm>
              <a:off x="718875" y="1953930"/>
              <a:ext cx="4511262" cy="2090556"/>
            </a:xfrm>
            <a:custGeom>
              <a:avLst/>
              <a:gdLst>
                <a:gd name="T0" fmla="*/ 2147483647 w 1934"/>
                <a:gd name="T1" fmla="*/ 2147483647 h 1970"/>
                <a:gd name="T2" fmla="*/ 0 w 1934"/>
                <a:gd name="T3" fmla="*/ 2147483647 h 1970"/>
                <a:gd name="T4" fmla="*/ 0 w 1934"/>
                <a:gd name="T5" fmla="*/ 0 h 1970"/>
                <a:gd name="T6" fmla="*/ 2147483647 w 1934"/>
                <a:gd name="T7" fmla="*/ 0 h 1970"/>
                <a:gd name="T8" fmla="*/ 2147483647 w 1934"/>
                <a:gd name="T9" fmla="*/ 2147483647 h 1970"/>
                <a:gd name="T10" fmla="*/ 2147483647 w 1934"/>
                <a:gd name="T11" fmla="*/ 2147483647 h 1970"/>
                <a:gd name="T12" fmla="*/ 2147483647 w 1934"/>
                <a:gd name="T13" fmla="*/ 2147483647 h 1970"/>
                <a:gd name="T14" fmla="*/ 2147483647 w 1934"/>
                <a:gd name="T15" fmla="*/ 2147483647 h 1970"/>
                <a:gd name="T16" fmla="*/ 2147483647 w 1934"/>
                <a:gd name="T17" fmla="*/ 2147483647 h 1970"/>
                <a:gd name="T18" fmla="*/ 2147483647 w 1934"/>
                <a:gd name="T19" fmla="*/ 2147483647 h 1970"/>
                <a:gd name="T20" fmla="*/ 2147483647 w 1934"/>
                <a:gd name="T21" fmla="*/ 2147483647 h 1970"/>
                <a:gd name="T22" fmla="*/ 2147483647 w 1934"/>
                <a:gd name="T23" fmla="*/ 2147483647 h 1970"/>
                <a:gd name="T24" fmla="*/ 2147483647 w 1934"/>
                <a:gd name="T25" fmla="*/ 2147483647 h 1970"/>
                <a:gd name="T26" fmla="*/ 2147483647 w 1934"/>
                <a:gd name="T27" fmla="*/ 2147483647 h 1970"/>
                <a:gd name="T28" fmla="*/ 2147483647 w 1934"/>
                <a:gd name="T29" fmla="*/ 2147483647 h 1970"/>
                <a:gd name="T30" fmla="*/ 2147483647 w 1934"/>
                <a:gd name="T31" fmla="*/ 2147483647 h 197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934"/>
                <a:gd name="T49" fmla="*/ 0 h 1970"/>
                <a:gd name="T50" fmla="*/ 1934 w 1934"/>
                <a:gd name="T51" fmla="*/ 1970 h 197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934" h="1970">
                  <a:moveTo>
                    <a:pt x="1518" y="1969"/>
                  </a:moveTo>
                  <a:lnTo>
                    <a:pt x="0" y="1969"/>
                  </a:lnTo>
                  <a:lnTo>
                    <a:pt x="0" y="0"/>
                  </a:lnTo>
                  <a:lnTo>
                    <a:pt x="1699" y="0"/>
                  </a:lnTo>
                  <a:lnTo>
                    <a:pt x="1648" y="525"/>
                  </a:lnTo>
                  <a:lnTo>
                    <a:pt x="1734" y="525"/>
                  </a:lnTo>
                  <a:lnTo>
                    <a:pt x="1734" y="276"/>
                  </a:lnTo>
                  <a:lnTo>
                    <a:pt x="1933" y="703"/>
                  </a:lnTo>
                  <a:lnTo>
                    <a:pt x="1734" y="1104"/>
                  </a:lnTo>
                  <a:lnTo>
                    <a:pt x="1734" y="855"/>
                  </a:lnTo>
                  <a:lnTo>
                    <a:pt x="1622" y="855"/>
                  </a:lnTo>
                  <a:lnTo>
                    <a:pt x="1596" y="1104"/>
                  </a:lnTo>
                  <a:lnTo>
                    <a:pt x="1596" y="864"/>
                  </a:lnTo>
                  <a:lnTo>
                    <a:pt x="1397" y="1256"/>
                  </a:lnTo>
                  <a:lnTo>
                    <a:pt x="1556" y="1597"/>
                  </a:lnTo>
                  <a:lnTo>
                    <a:pt x="1518" y="1969"/>
                  </a:lnTo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  <p:txBody>
            <a:bodyPr tIns="165862" rIns="1077449" bIns="32650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273050" indent="-27305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538163" indent="-265113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247629" lvl="2" indent="0" eaLnBrk="1" hangingPunct="1">
                <a:spcBef>
                  <a:spcPts val="544"/>
                </a:spcBef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247629" lvl="2" indent="0" eaLnBrk="1" hangingPunct="1">
                <a:spcBef>
                  <a:spcPts val="544"/>
                </a:spcBef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lvl="2" eaLnBrk="1" hangingPunct="1">
                <a:spcBef>
                  <a:spcPts val="544"/>
                </a:spcBef>
                <a:buFont typeface="Arial" charset="0"/>
                <a:buChar char="‒"/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lvl="2" eaLnBrk="1" hangingPunct="1">
                <a:spcBef>
                  <a:spcPts val="544"/>
                </a:spcBef>
                <a:buFont typeface="Arial" charset="0"/>
                <a:buChar char="‒"/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>
              <p:custDataLst>
                <p:tags r:id="rId2"/>
              </p:custDataLst>
            </p:nvPr>
          </p:nvSpPr>
          <p:spPr bwMode="blackWhite">
            <a:xfrm>
              <a:off x="3992872" y="1953930"/>
              <a:ext cx="4567360" cy="2090556"/>
            </a:xfrm>
            <a:custGeom>
              <a:avLst/>
              <a:gdLst>
                <a:gd name="T0" fmla="*/ 2147483647 w 1934"/>
                <a:gd name="T1" fmla="*/ 0 h 1970"/>
                <a:gd name="T2" fmla="*/ 2147483647 w 1934"/>
                <a:gd name="T3" fmla="*/ 0 h 1970"/>
                <a:gd name="T4" fmla="*/ 2147483647 w 1934"/>
                <a:gd name="T5" fmla="*/ 2147483647 h 1970"/>
                <a:gd name="T6" fmla="*/ 2147483647 w 1934"/>
                <a:gd name="T7" fmla="*/ 2147483647 h 1970"/>
                <a:gd name="T8" fmla="*/ 2147483647 w 1934"/>
                <a:gd name="T9" fmla="*/ 2147483647 h 1970"/>
                <a:gd name="T10" fmla="*/ 2147483647 w 1934"/>
                <a:gd name="T11" fmla="*/ 2147483647 h 1970"/>
                <a:gd name="T12" fmla="*/ 2147483647 w 1934"/>
                <a:gd name="T13" fmla="*/ 2147483647 h 1970"/>
                <a:gd name="T14" fmla="*/ 0 w 1934"/>
                <a:gd name="T15" fmla="*/ 2147483647 h 1970"/>
                <a:gd name="T16" fmla="*/ 2147483647 w 1934"/>
                <a:gd name="T17" fmla="*/ 2147483647 h 1970"/>
                <a:gd name="T18" fmla="*/ 2147483647 w 1934"/>
                <a:gd name="T19" fmla="*/ 2147483647 h 1970"/>
                <a:gd name="T20" fmla="*/ 2147483647 w 1934"/>
                <a:gd name="T21" fmla="*/ 2147483647 h 1970"/>
                <a:gd name="T22" fmla="*/ 2147483647 w 1934"/>
                <a:gd name="T23" fmla="*/ 2147483647 h 1970"/>
                <a:gd name="T24" fmla="*/ 2147483647 w 1934"/>
                <a:gd name="T25" fmla="*/ 2147483647 h 1970"/>
                <a:gd name="T26" fmla="*/ 2147483647 w 1934"/>
                <a:gd name="T27" fmla="*/ 2147483647 h 1970"/>
                <a:gd name="T28" fmla="*/ 2147483647 w 1934"/>
                <a:gd name="T29" fmla="*/ 2147483647 h 1970"/>
                <a:gd name="T30" fmla="*/ 2147483647 w 1934"/>
                <a:gd name="T31" fmla="*/ 0 h 197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934"/>
                <a:gd name="T49" fmla="*/ 0 h 1970"/>
                <a:gd name="T50" fmla="*/ 1934 w 1934"/>
                <a:gd name="T51" fmla="*/ 1970 h 197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934" h="1970">
                  <a:moveTo>
                    <a:pt x="414" y="0"/>
                  </a:moveTo>
                  <a:lnTo>
                    <a:pt x="1933" y="0"/>
                  </a:lnTo>
                  <a:lnTo>
                    <a:pt x="1933" y="1969"/>
                  </a:lnTo>
                  <a:lnTo>
                    <a:pt x="241" y="1969"/>
                  </a:lnTo>
                  <a:lnTo>
                    <a:pt x="284" y="1434"/>
                  </a:lnTo>
                  <a:lnTo>
                    <a:pt x="198" y="1434"/>
                  </a:lnTo>
                  <a:lnTo>
                    <a:pt x="198" y="1683"/>
                  </a:lnTo>
                  <a:lnTo>
                    <a:pt x="0" y="1265"/>
                  </a:lnTo>
                  <a:lnTo>
                    <a:pt x="198" y="864"/>
                  </a:lnTo>
                  <a:lnTo>
                    <a:pt x="198" y="1113"/>
                  </a:lnTo>
                  <a:lnTo>
                    <a:pt x="310" y="1113"/>
                  </a:lnTo>
                  <a:lnTo>
                    <a:pt x="345" y="864"/>
                  </a:lnTo>
                  <a:lnTo>
                    <a:pt x="336" y="1095"/>
                  </a:lnTo>
                  <a:lnTo>
                    <a:pt x="535" y="694"/>
                  </a:lnTo>
                  <a:lnTo>
                    <a:pt x="379" y="374"/>
                  </a:lnTo>
                  <a:lnTo>
                    <a:pt x="414" y="0"/>
                  </a:lnTo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>
                  <a:lumMod val="20000"/>
                  <a:lumOff val="80000"/>
                </a:schemeClr>
              </a:solidFill>
            </a:ln>
            <a:extLst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  <p:txBody>
            <a:bodyPr lIns="1012149" tIns="82931" bIns="32650"/>
            <a:lstStyle>
              <a:lvl1pPr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273050" indent="-27305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538163" indent="-265113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lvl="1" indent="0" eaLnBrk="1" hangingPunct="1">
                <a:spcBef>
                  <a:spcPts val="544"/>
                </a:spcBef>
              </a:pPr>
              <a:endParaRPr lang="en-US" altLang="zh-CN" sz="952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eaLnBrk="1" hangingPunct="1">
                <a:spcBef>
                  <a:spcPts val="544"/>
                </a:spcBef>
              </a:pPr>
              <a:endParaRPr lang="en-US" altLang="en-US" sz="1088" b="1" dirty="0">
                <a:solidFill>
                  <a:srgbClr val="31313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40" name="Rectangle 12"/>
            <p:cNvSpPr txBox="1">
              <a:spLocks noChangeArrowheads="1"/>
            </p:cNvSpPr>
            <p:nvPr/>
          </p:nvSpPr>
          <p:spPr>
            <a:xfrm>
              <a:off x="853416" y="2102607"/>
              <a:ext cx="3139456" cy="1732369"/>
            </a:xfrm>
            <a:prstGeom prst="rect">
              <a:avLst/>
            </a:prstGeom>
            <a:noFill/>
            <a:ln w="12700">
              <a:noFill/>
            </a:ln>
          </p:spPr>
          <p:txBody>
            <a:bodyPr lIns="0" tIns="0" rIns="0" bIns="0">
              <a:noAutofit/>
            </a:bodyPr>
            <a:lstStyle/>
            <a:p>
              <a:pPr>
                <a:spcAft>
                  <a:spcPts val="513"/>
                </a:spcAft>
                <a:buClr>
                  <a:schemeClr val="tx1"/>
                </a:buClr>
                <a:defRPr/>
              </a:pPr>
              <a:r>
                <a:rPr lang="en-US" altLang="zh-CN" sz="1400" b="1" dirty="0" smtClean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dels</a:t>
              </a:r>
            </a:p>
            <a:p>
              <a:pPr marL="285750" indent="-285750"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Random</a:t>
              </a:r>
              <a:r>
                <a:rPr lang="zh-CN" altLang="en-US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Forest</a:t>
              </a:r>
            </a:p>
            <a:p>
              <a:pPr marL="285750" indent="-285750"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Linear</a:t>
              </a:r>
              <a:r>
                <a:rPr lang="zh-CN" altLang="en-US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VM</a:t>
              </a:r>
            </a:p>
            <a:p>
              <a:pPr marL="285750" indent="-285750"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RBF</a:t>
              </a:r>
              <a:r>
                <a:rPr lang="zh-CN" altLang="en-US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VM</a:t>
              </a:r>
            </a:p>
            <a:p>
              <a:pPr marL="285750" indent="-285750"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Logistic</a:t>
              </a:r>
              <a:r>
                <a:rPr lang="zh-CN" altLang="en-US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Regression</a:t>
              </a:r>
              <a:endParaRPr lang="en-US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Rectangle 12"/>
            <p:cNvSpPr txBox="1">
              <a:spLocks noChangeArrowheads="1"/>
            </p:cNvSpPr>
            <p:nvPr/>
          </p:nvSpPr>
          <p:spPr>
            <a:xfrm>
              <a:off x="5235445" y="1952077"/>
              <a:ext cx="3196126" cy="1732369"/>
            </a:xfrm>
            <a:prstGeom prst="rect">
              <a:avLst/>
            </a:prstGeom>
            <a:noFill/>
            <a:ln w="12700">
              <a:noFill/>
            </a:ln>
          </p:spPr>
          <p:txBody>
            <a:bodyPr lIns="0" tIns="0" rIns="0" bIns="0">
              <a:noAutofit/>
            </a:bodyPr>
            <a:lstStyle/>
            <a:p>
              <a:pPr>
                <a:spcAft>
                  <a:spcPts val="513"/>
                </a:spcAft>
                <a:buClr>
                  <a:schemeClr val="tx1"/>
                </a:buClr>
                <a:defRPr/>
              </a:pPr>
              <a:r>
                <a:rPr lang="en-US" altLang="zh-CN" sz="1400" b="1" dirty="0" smtClean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eatures</a:t>
              </a:r>
            </a:p>
            <a:p>
              <a:pPr>
                <a:spcAft>
                  <a:spcPts val="513"/>
                </a:spcAft>
                <a:buClr>
                  <a:schemeClr val="tx1"/>
                </a:buClr>
                <a:defRPr/>
              </a:pP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ingle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eature:</a:t>
              </a:r>
            </a:p>
            <a:p>
              <a:pPr marL="285750" indent="-285750">
                <a:lnSpc>
                  <a:spcPts val="580"/>
                </a:lnSpc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IFT</a:t>
              </a:r>
            </a:p>
            <a:p>
              <a:pPr marL="285750" indent="-285750">
                <a:lnSpc>
                  <a:spcPts val="580"/>
                </a:lnSpc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HOG</a:t>
              </a:r>
            </a:p>
            <a:p>
              <a:pPr marL="285750" indent="-285750">
                <a:lnSpc>
                  <a:spcPts val="580"/>
                </a:lnSpc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LBP</a:t>
              </a:r>
            </a:p>
            <a:p>
              <a:pPr marL="285750" indent="-285750">
                <a:lnSpc>
                  <a:spcPts val="580"/>
                </a:lnSpc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COLOR</a:t>
              </a:r>
              <a:endParaRPr lang="en-US" altLang="zh-CN" sz="9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80000"/>
                </a:lnSpc>
                <a:spcAft>
                  <a:spcPts val="513"/>
                </a:spcAft>
                <a:buClr>
                  <a:schemeClr val="tx1"/>
                </a:buClr>
                <a:defRPr/>
              </a:pP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bine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wo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f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m:</a:t>
              </a:r>
            </a:p>
            <a:p>
              <a:pPr marL="171450" indent="-171450">
                <a:lnSpc>
                  <a:spcPct val="80000"/>
                </a:lnSpc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IFT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HOG</a:t>
              </a:r>
            </a:p>
            <a:p>
              <a:pPr>
                <a:lnSpc>
                  <a:spcPct val="80000"/>
                </a:lnSpc>
                <a:spcAft>
                  <a:spcPts val="513"/>
                </a:spcAft>
                <a:buClr>
                  <a:schemeClr val="tx1"/>
                </a:buClr>
                <a:defRPr/>
              </a:pP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bine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ree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f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m:</a:t>
              </a:r>
            </a:p>
            <a:p>
              <a:pPr marL="171450" indent="-171450">
                <a:lnSpc>
                  <a:spcPct val="80000"/>
                </a:lnSpc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IFT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HOG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LBP</a:t>
              </a:r>
            </a:p>
            <a:p>
              <a:pPr>
                <a:lnSpc>
                  <a:spcPct val="80000"/>
                </a:lnSpc>
                <a:spcAft>
                  <a:spcPts val="513"/>
                </a:spcAft>
                <a:buClr>
                  <a:schemeClr val="tx1"/>
                </a:buClr>
                <a:defRPr/>
              </a:pP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bine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ur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f</a:t>
              </a:r>
              <a:r>
                <a:rPr lang="zh-CN" altLang="en-US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1000" b="1" dirty="0" smtClean="0">
                  <a:solidFill>
                    <a:srgbClr val="EB8C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m:</a:t>
              </a:r>
            </a:p>
            <a:p>
              <a:pPr marL="171450" indent="-171450">
                <a:lnSpc>
                  <a:spcPct val="80000"/>
                </a:lnSpc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IFT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HOG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LBP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r>
                <a:rPr lang="zh-CN" altLang="en-US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zh-CN" sz="9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COLOR</a:t>
              </a:r>
            </a:p>
            <a:p>
              <a:pPr>
                <a:spcAft>
                  <a:spcPts val="513"/>
                </a:spcAft>
                <a:buClr>
                  <a:schemeClr val="tx1"/>
                </a:buClr>
                <a:defRPr/>
              </a:pPr>
              <a:endParaRPr lang="en-US" altLang="zh-CN" sz="1050" b="1" dirty="0" smtClean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50" indent="-171450">
                <a:spcAft>
                  <a:spcPts val="513"/>
                </a:spcAft>
                <a:buClr>
                  <a:schemeClr val="tx1"/>
                </a:buClr>
                <a:buFont typeface="Arial" charset="0"/>
                <a:buChar char="•"/>
                <a:defRPr/>
              </a:pPr>
              <a:endParaRPr lang="en-US" altLang="zh-CN" sz="1050" b="1" dirty="0" smtClean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45" name="Table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1025362"/>
              </p:ext>
            </p:extLst>
          </p:nvPr>
        </p:nvGraphicFramePr>
        <p:xfrm>
          <a:off x="717781" y="1978040"/>
          <a:ext cx="3926227" cy="370840"/>
        </p:xfrm>
        <a:graphic>
          <a:graphicData uri="http://schemas.openxmlformats.org/drawingml/2006/table">
            <a:tbl>
              <a:tblPr firstRow="1" bandRow="1">
                <a:tableStyleId>{69D073F8-1565-44D7-B386-08B59EADF2EE}</a:tableStyleId>
              </a:tblPr>
              <a:tblGrid>
                <a:gridCol w="3926227"/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in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th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erent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bination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atures</a:t>
                      </a:r>
                      <a:endParaRPr lang="en-GB" altLang="zh-CN" sz="12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1296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标题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6043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86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145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>
          <a:prstGeom prst="rect">
            <a:avLst/>
          </a:prstGeom>
        </p:spPr>
        <p:txBody>
          <a:bodyPr/>
          <a:lstStyle/>
          <a:p>
            <a:fld id="{FEBD7F86-1881-4698-8703-FB80B0800997}" type="slidenum">
              <a:rPr lang="en-GB" sz="907">
                <a:latin typeface="Arial" panose="020B0604020202020204" pitchFamily="34" charset="0"/>
                <a:cs typeface="Arial" panose="020B0604020202020204" pitchFamily="34" charset="0"/>
              </a:rPr>
              <a:pPr/>
              <a:t>7</a:t>
            </a:fld>
            <a:endParaRPr lang="en-GB" sz="90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532800" y="687600"/>
            <a:ext cx="8179724" cy="5422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61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i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en-US" altLang="zh-CN" sz="2400" dirty="0" smtClean="0">
                <a:latin typeface="+mj-lt"/>
              </a:rPr>
              <a:t>4.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Model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Comparison</a:t>
            </a:r>
            <a:endParaRPr lang="en-GB" sz="24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18875" y="1954560"/>
            <a:ext cx="2124933" cy="3943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endParaRPr lang="en-US" sz="1600" b="1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3" name="Pentagon 32"/>
          <p:cNvSpPr/>
          <p:nvPr/>
        </p:nvSpPr>
        <p:spPr bwMode="ltGray">
          <a:xfrm>
            <a:off x="7086600" y="335869"/>
            <a:ext cx="1554480" cy="212811"/>
          </a:xfrm>
          <a:prstGeom prst="homePlate">
            <a:avLst/>
          </a:prstGeom>
          <a:solidFill>
            <a:srgbClr val="A3202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78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ison</a:t>
            </a:r>
            <a:endParaRPr lang="en-GB" sz="78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5" name="Table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9584390"/>
              </p:ext>
            </p:extLst>
          </p:nvPr>
        </p:nvGraphicFramePr>
        <p:xfrm>
          <a:off x="717781" y="1978040"/>
          <a:ext cx="7886469" cy="370840"/>
        </p:xfrm>
        <a:graphic>
          <a:graphicData uri="http://schemas.openxmlformats.org/drawingml/2006/table">
            <a:tbl>
              <a:tblPr firstRow="1" bandRow="1">
                <a:tableStyleId>{69D073F8-1565-44D7-B386-08B59EADF2EE}</a:tableStyleId>
              </a:tblPr>
              <a:tblGrid>
                <a:gridCol w="7886469"/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in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th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erent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bination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atures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st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: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near</a:t>
                      </a:r>
                      <a:r>
                        <a:rPr lang="zh-CN" altLang="en-US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CN" sz="12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VM</a:t>
                      </a:r>
                      <a:endParaRPr lang="en-GB" altLang="zh-CN" sz="12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5470838"/>
              </p:ext>
            </p:extLst>
          </p:nvPr>
        </p:nvGraphicFramePr>
        <p:xfrm>
          <a:off x="532934" y="2927456"/>
          <a:ext cx="8077669" cy="2592668"/>
        </p:xfrm>
        <a:graphic>
          <a:graphicData uri="http://schemas.openxmlformats.org/drawingml/2006/table">
            <a:tbl>
              <a:tblPr/>
              <a:tblGrid>
                <a:gridCol w="868411"/>
                <a:gridCol w="775033"/>
                <a:gridCol w="37864"/>
                <a:gridCol w="700331"/>
                <a:gridCol w="887087"/>
                <a:gridCol w="747020"/>
                <a:gridCol w="812385"/>
                <a:gridCol w="46689"/>
                <a:gridCol w="700331"/>
                <a:gridCol w="999140"/>
                <a:gridCol w="1503378"/>
              </a:tblGrid>
              <a:tr h="19943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Model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Category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SIFT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HOG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LBP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COLOR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SIFT+HOG</a:t>
                      </a:r>
                    </a:p>
                  </a:txBody>
                  <a:tcPr marL="6232" marR="6232" marT="6232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SIFT+HOG+LBP</a:t>
                      </a:r>
                    </a:p>
                  </a:txBody>
                  <a:tcPr marL="6232" marR="6232" marT="6232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SIFT+HOG+LBP+COLOR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</a:tr>
              <a:tr h="199436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Linear SVM 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Accuracy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6.2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2.6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7.4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9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charset="0"/>
                        </a:rPr>
                        <a:t>78.40%</a:t>
                      </a:r>
                    </a:p>
                  </a:txBody>
                  <a:tcPr marL="6232" marR="6232" marT="6232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6.40%</a:t>
                      </a:r>
                    </a:p>
                  </a:txBody>
                  <a:tcPr marL="6232" marR="6232" marT="6232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0.4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Train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2.13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5.29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3.01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0.52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9.42</a:t>
                      </a:r>
                    </a:p>
                  </a:txBody>
                  <a:tcPr marL="6232" marR="6232" marT="6232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2.15</a:t>
                      </a:r>
                    </a:p>
                  </a:txBody>
                  <a:tcPr marL="6232" marR="6232" marT="6232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9.48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Predict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42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3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2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41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44</a:t>
                      </a:r>
                    </a:p>
                  </a:txBody>
                  <a:tcPr marL="6232" marR="6232" marT="6232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5</a:t>
                      </a:r>
                    </a:p>
                  </a:txBody>
                  <a:tcPr marL="6232" marR="6232" marT="6232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5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  <a:tr h="199436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RBF SVM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Accuracy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6.2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0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7.4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7.4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7.2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5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0.0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Train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3.5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8.25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8.59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02.2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1.97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6.13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17.08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Predict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195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11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92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.1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1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18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.09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</a:tr>
              <a:tr h="199436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Random Forest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Accuracy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6.6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4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6.4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7.0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4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5.6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2.2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Train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.60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8.4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.3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80.1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6.79</a:t>
                      </a:r>
                      <a:endParaRPr lang="hr-H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8.90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54.32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Predict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80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3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36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s-I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</a:t>
                      </a:r>
                      <a:r>
                        <a:rPr lang="en-US" altLang="zh-CN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3</a:t>
                      </a:r>
                      <a:endParaRPr lang="is-I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6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3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  <a:tr h="199436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Logistic Regression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Accuracy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6.6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0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5.4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8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6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6.0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8.8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Train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1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15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5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4.0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46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71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51.76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Predict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1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1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04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37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1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02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.57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</a:tr>
            </a:tbl>
          </a:graphicData>
        </a:graphic>
      </p:graphicFrame>
      <p:sp>
        <p:nvSpPr>
          <p:cNvPr id="9" name="Pentagon 8"/>
          <p:cNvSpPr/>
          <p:nvPr/>
        </p:nvSpPr>
        <p:spPr bwMode="ltGray">
          <a:xfrm>
            <a:off x="2195736" y="2636912"/>
            <a:ext cx="3168352" cy="224216"/>
          </a:xfrm>
          <a:prstGeom prst="homePlate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4" name="Pentagon 13"/>
          <p:cNvSpPr/>
          <p:nvPr/>
        </p:nvSpPr>
        <p:spPr bwMode="ltGray">
          <a:xfrm>
            <a:off x="5423480" y="2636912"/>
            <a:ext cx="3217600" cy="224216"/>
          </a:xfrm>
          <a:prstGeom prst="homePlate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5" name="Pentagon 14"/>
          <p:cNvSpPr/>
          <p:nvPr/>
        </p:nvSpPr>
        <p:spPr bwMode="ltGray">
          <a:xfrm>
            <a:off x="539750" y="2636912"/>
            <a:ext cx="1596594" cy="224216"/>
          </a:xfrm>
          <a:prstGeom prst="homePlate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6" name="Right Arrow 15"/>
          <p:cNvSpPr/>
          <p:nvPr/>
        </p:nvSpPr>
        <p:spPr bwMode="ltGray">
          <a:xfrm>
            <a:off x="4643438" y="1990883"/>
            <a:ext cx="487049" cy="345153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724128" y="465313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endParaRPr lang="en-US" sz="2000" dirty="0" err="1" smtClean="0">
              <a:latin typeface="Georgia" pitchFamily="18" charset="0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3060685"/>
              </p:ext>
            </p:extLst>
          </p:nvPr>
        </p:nvGraphicFramePr>
        <p:xfrm>
          <a:off x="563411" y="5589240"/>
          <a:ext cx="8077669" cy="598308"/>
        </p:xfrm>
        <a:graphic>
          <a:graphicData uri="http://schemas.openxmlformats.org/drawingml/2006/table">
            <a:tbl>
              <a:tblPr/>
              <a:tblGrid>
                <a:gridCol w="868411"/>
                <a:gridCol w="775033"/>
                <a:gridCol w="37864"/>
                <a:gridCol w="700331"/>
                <a:gridCol w="887087"/>
                <a:gridCol w="747020"/>
                <a:gridCol w="812385"/>
                <a:gridCol w="46689"/>
                <a:gridCol w="700331"/>
                <a:gridCol w="999140"/>
                <a:gridCol w="1503378"/>
              </a:tblGrid>
              <a:tr h="199436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CNN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Accuracy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3.0%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Train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36000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  <a:tr h="1994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Predict(s)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30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 </a:t>
                      </a:r>
                    </a:p>
                  </a:txBody>
                  <a:tcPr marL="6232" marR="6232" marT="623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8336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标题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6043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86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zh-CN" sz="145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145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>
          <a:prstGeom prst="rect">
            <a:avLst/>
          </a:prstGeom>
        </p:spPr>
        <p:txBody>
          <a:bodyPr/>
          <a:lstStyle/>
          <a:p>
            <a:fld id="{FEBD7F86-1881-4698-8703-FB80B0800997}" type="slidenum">
              <a:rPr lang="en-GB" sz="907"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en-GB" sz="90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532800" y="687600"/>
            <a:ext cx="8179724" cy="5422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61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i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en-US" altLang="zh-CN" sz="2400" dirty="0" smtClean="0">
                <a:latin typeface="+mj-lt"/>
              </a:rPr>
              <a:t>Combine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Top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three</a:t>
            </a:r>
            <a:r>
              <a:rPr lang="zh-CN" altLang="en-US" sz="2400" dirty="0" smtClean="0">
                <a:latin typeface="+mj-lt"/>
              </a:rPr>
              <a:t> </a:t>
            </a:r>
            <a:r>
              <a:rPr lang="en-US" altLang="zh-CN" sz="2400" dirty="0" smtClean="0">
                <a:latin typeface="+mj-lt"/>
              </a:rPr>
              <a:t>Models</a:t>
            </a:r>
            <a:endParaRPr lang="en-GB" sz="24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33" name="Pentagon 32"/>
          <p:cNvSpPr/>
          <p:nvPr/>
        </p:nvSpPr>
        <p:spPr bwMode="ltGray">
          <a:xfrm>
            <a:off x="7086600" y="335869"/>
            <a:ext cx="1554480" cy="212811"/>
          </a:xfrm>
          <a:prstGeom prst="homePlate">
            <a:avLst/>
          </a:prstGeom>
          <a:solidFill>
            <a:srgbClr val="A3202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sed</a:t>
            </a:r>
            <a:r>
              <a:rPr lang="zh-CN" altLang="en-US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78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</a:t>
            </a:r>
            <a:endParaRPr lang="en-GB" sz="78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auto">
          <a:xfrm>
            <a:off x="3586808" y="2452333"/>
            <a:ext cx="3157504" cy="950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539"/>
          </a:p>
        </p:txBody>
      </p:sp>
      <p:sp>
        <p:nvSpPr>
          <p:cNvPr id="14" name="Rectangle 3"/>
          <p:cNvSpPr>
            <a:spLocks noChangeArrowheads="1"/>
          </p:cNvSpPr>
          <p:nvPr/>
        </p:nvSpPr>
        <p:spPr bwMode="auto">
          <a:xfrm>
            <a:off x="4379238" y="3554609"/>
            <a:ext cx="3157504" cy="950238"/>
          </a:xfrm>
          <a:prstGeom prst="rect">
            <a:avLst/>
          </a:prstGeom>
          <a:solidFill>
            <a:srgbClr val="EB8C00"/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539"/>
          </a:p>
        </p:txBody>
      </p:sp>
      <p:sp>
        <p:nvSpPr>
          <p:cNvPr id="15" name="Rectangle 4"/>
          <p:cNvSpPr>
            <a:spLocks noChangeArrowheads="1"/>
          </p:cNvSpPr>
          <p:nvPr/>
        </p:nvSpPr>
        <p:spPr bwMode="auto">
          <a:xfrm>
            <a:off x="5110921" y="4659599"/>
            <a:ext cx="3161576" cy="950238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539"/>
          </a:p>
        </p:txBody>
      </p:sp>
      <p:sp>
        <p:nvSpPr>
          <p:cNvPr id="16" name="Freeform 5"/>
          <p:cNvSpPr>
            <a:spLocks/>
          </p:cNvSpPr>
          <p:nvPr/>
        </p:nvSpPr>
        <p:spPr bwMode="auto">
          <a:xfrm>
            <a:off x="2556140" y="2452334"/>
            <a:ext cx="2641660" cy="3115422"/>
          </a:xfrm>
          <a:custGeom>
            <a:avLst/>
            <a:gdLst>
              <a:gd name="T0" fmla="*/ 0 w 1961"/>
              <a:gd name="T1" fmla="*/ 0 h 2281"/>
              <a:gd name="T2" fmla="*/ 948027922 w 1961"/>
              <a:gd name="T3" fmla="*/ 0 h 2281"/>
              <a:gd name="T4" fmla="*/ 948027922 w 1961"/>
              <a:gd name="T5" fmla="*/ 2147483647 h 2281"/>
              <a:gd name="T6" fmla="*/ 2147483647 w 1961"/>
              <a:gd name="T7" fmla="*/ 2147483647 h 2281"/>
              <a:gd name="T8" fmla="*/ 2147483647 w 1961"/>
              <a:gd name="T9" fmla="*/ 2147483647 h 2281"/>
              <a:gd name="T10" fmla="*/ 2147483647 w 1961"/>
              <a:gd name="T11" fmla="*/ 2147483647 h 2281"/>
              <a:gd name="T12" fmla="*/ 2147483647 w 1961"/>
              <a:gd name="T13" fmla="*/ 2147483647 h 2281"/>
              <a:gd name="T14" fmla="*/ 2147483647 w 1961"/>
              <a:gd name="T15" fmla="*/ 2147483647 h 2281"/>
              <a:gd name="T16" fmla="*/ 0 w 1961"/>
              <a:gd name="T17" fmla="*/ 2147483647 h 2281"/>
              <a:gd name="T18" fmla="*/ 0 w 1961"/>
              <a:gd name="T19" fmla="*/ 0 h 228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961"/>
              <a:gd name="T31" fmla="*/ 0 h 2281"/>
              <a:gd name="T32" fmla="*/ 1961 w 1961"/>
              <a:gd name="T33" fmla="*/ 2281 h 2281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961" h="2281">
                <a:moveTo>
                  <a:pt x="0" y="0"/>
                </a:moveTo>
                <a:lnTo>
                  <a:pt x="382" y="0"/>
                </a:lnTo>
                <a:lnTo>
                  <a:pt x="382" y="1770"/>
                </a:lnTo>
                <a:lnTo>
                  <a:pt x="1673" y="1762"/>
                </a:lnTo>
                <a:lnTo>
                  <a:pt x="1673" y="1602"/>
                </a:lnTo>
                <a:lnTo>
                  <a:pt x="1960" y="1937"/>
                </a:lnTo>
                <a:lnTo>
                  <a:pt x="1673" y="2280"/>
                </a:lnTo>
                <a:lnTo>
                  <a:pt x="1673" y="2113"/>
                </a:lnTo>
                <a:lnTo>
                  <a:pt x="0" y="2113"/>
                </a:lnTo>
                <a:lnTo>
                  <a:pt x="0" y="0"/>
                </a:lnTo>
              </a:path>
            </a:pathLst>
          </a:custGeom>
          <a:solidFill>
            <a:schemeClr val="bg2"/>
          </a:solidFill>
          <a:ln w="12700" cap="rnd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>
              <a:defRPr/>
            </a:pPr>
            <a:endParaRPr lang="en-GB" sz="1539"/>
          </a:p>
        </p:txBody>
      </p:sp>
      <p:sp>
        <p:nvSpPr>
          <p:cNvPr id="17" name="Freeform 6"/>
          <p:cNvSpPr>
            <a:spLocks/>
          </p:cNvSpPr>
          <p:nvPr/>
        </p:nvSpPr>
        <p:spPr bwMode="auto">
          <a:xfrm>
            <a:off x="1812239" y="2461837"/>
            <a:ext cx="2653877" cy="2044368"/>
          </a:xfrm>
          <a:custGeom>
            <a:avLst/>
            <a:gdLst>
              <a:gd name="T0" fmla="*/ 0 w 1969"/>
              <a:gd name="T1" fmla="*/ 0 h 1497"/>
              <a:gd name="T2" fmla="*/ 0 w 1969"/>
              <a:gd name="T3" fmla="*/ 0 h 1497"/>
              <a:gd name="T4" fmla="*/ 954027866 w 1969"/>
              <a:gd name="T5" fmla="*/ 0 h 1497"/>
              <a:gd name="T6" fmla="*/ 954027866 w 1969"/>
              <a:gd name="T7" fmla="*/ 2147483647 h 1497"/>
              <a:gd name="T8" fmla="*/ 2147483647 w 1969"/>
              <a:gd name="T9" fmla="*/ 2147483647 h 1497"/>
              <a:gd name="T10" fmla="*/ 2147483647 w 1969"/>
              <a:gd name="T11" fmla="*/ 2060844982 h 1497"/>
              <a:gd name="T12" fmla="*/ 2147483647 w 1969"/>
              <a:gd name="T13" fmla="*/ 2147483647 h 1497"/>
              <a:gd name="T14" fmla="*/ 2147483647 w 1969"/>
              <a:gd name="T15" fmla="*/ 2147483647 h 1497"/>
              <a:gd name="T16" fmla="*/ 2147483647 w 1969"/>
              <a:gd name="T17" fmla="*/ 2147483647 h 1497"/>
              <a:gd name="T18" fmla="*/ 0 w 1969"/>
              <a:gd name="T19" fmla="*/ 2147483647 h 1497"/>
              <a:gd name="T20" fmla="*/ 0 w 1969"/>
              <a:gd name="T21" fmla="*/ 0 h 149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969"/>
              <a:gd name="T34" fmla="*/ 0 h 1497"/>
              <a:gd name="T35" fmla="*/ 1969 w 1969"/>
              <a:gd name="T36" fmla="*/ 1497 h 149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969" h="1497">
                <a:moveTo>
                  <a:pt x="0" y="0"/>
                </a:moveTo>
                <a:lnTo>
                  <a:pt x="0" y="0"/>
                </a:lnTo>
                <a:lnTo>
                  <a:pt x="384" y="0"/>
                </a:lnTo>
                <a:lnTo>
                  <a:pt x="384" y="976"/>
                </a:lnTo>
                <a:lnTo>
                  <a:pt x="1680" y="976"/>
                </a:lnTo>
                <a:lnTo>
                  <a:pt x="1680" y="808"/>
                </a:lnTo>
                <a:lnTo>
                  <a:pt x="1968" y="1152"/>
                </a:lnTo>
                <a:lnTo>
                  <a:pt x="1680" y="1496"/>
                </a:lnTo>
                <a:lnTo>
                  <a:pt x="1680" y="1320"/>
                </a:lnTo>
                <a:lnTo>
                  <a:pt x="0" y="1320"/>
                </a:lnTo>
                <a:lnTo>
                  <a:pt x="0" y="0"/>
                </a:lnTo>
              </a:path>
            </a:pathLst>
          </a:custGeom>
          <a:solidFill>
            <a:schemeClr val="bg2"/>
          </a:solidFill>
          <a:ln w="12700" cap="rnd" cmpd="sng">
            <a:solidFill>
              <a:srgbClr val="EB8C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>
              <a:defRPr/>
            </a:pPr>
            <a:endParaRPr lang="en-GB" sz="1539"/>
          </a:p>
        </p:txBody>
      </p:sp>
      <p:sp>
        <p:nvSpPr>
          <p:cNvPr id="18" name="Freeform 7"/>
          <p:cNvSpPr>
            <a:spLocks/>
          </p:cNvSpPr>
          <p:nvPr/>
        </p:nvSpPr>
        <p:spPr bwMode="auto">
          <a:xfrm>
            <a:off x="1046619" y="2461837"/>
            <a:ext cx="2653877" cy="942093"/>
          </a:xfrm>
          <a:custGeom>
            <a:avLst/>
            <a:gdLst>
              <a:gd name="T0" fmla="*/ 0 w 1969"/>
              <a:gd name="T1" fmla="*/ 0 h 689"/>
              <a:gd name="T2" fmla="*/ 0 w 1969"/>
              <a:gd name="T3" fmla="*/ 0 h 689"/>
              <a:gd name="T4" fmla="*/ 954027866 w 1969"/>
              <a:gd name="T5" fmla="*/ 0 h 689"/>
              <a:gd name="T6" fmla="*/ 954027866 w 1969"/>
              <a:gd name="T7" fmla="*/ 429552871 h 689"/>
              <a:gd name="T8" fmla="*/ 2147483647 w 1969"/>
              <a:gd name="T9" fmla="*/ 429552871 h 689"/>
              <a:gd name="T10" fmla="*/ 2147483647 w 1969"/>
              <a:gd name="T11" fmla="*/ 0 h 689"/>
              <a:gd name="T12" fmla="*/ 2147483647 w 1969"/>
              <a:gd name="T13" fmla="*/ 879562002 h 689"/>
              <a:gd name="T14" fmla="*/ 2147483647 w 1969"/>
              <a:gd name="T15" fmla="*/ 1759124004 h 689"/>
              <a:gd name="T16" fmla="*/ 2147483647 w 1969"/>
              <a:gd name="T17" fmla="*/ 1309116272 h 689"/>
              <a:gd name="T18" fmla="*/ 0 w 1969"/>
              <a:gd name="T19" fmla="*/ 1309116272 h 689"/>
              <a:gd name="T20" fmla="*/ 0 w 1969"/>
              <a:gd name="T21" fmla="*/ 0 h 689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969"/>
              <a:gd name="T34" fmla="*/ 0 h 689"/>
              <a:gd name="T35" fmla="*/ 1969 w 1969"/>
              <a:gd name="T36" fmla="*/ 689 h 689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969" h="689">
                <a:moveTo>
                  <a:pt x="0" y="0"/>
                </a:moveTo>
                <a:lnTo>
                  <a:pt x="0" y="0"/>
                </a:lnTo>
                <a:lnTo>
                  <a:pt x="384" y="0"/>
                </a:lnTo>
                <a:lnTo>
                  <a:pt x="384" y="168"/>
                </a:lnTo>
                <a:lnTo>
                  <a:pt x="1680" y="168"/>
                </a:lnTo>
                <a:lnTo>
                  <a:pt x="1680" y="0"/>
                </a:lnTo>
                <a:lnTo>
                  <a:pt x="1968" y="344"/>
                </a:lnTo>
                <a:lnTo>
                  <a:pt x="1680" y="688"/>
                </a:lnTo>
                <a:lnTo>
                  <a:pt x="1680" y="512"/>
                </a:lnTo>
                <a:lnTo>
                  <a:pt x="0" y="512"/>
                </a:lnTo>
                <a:lnTo>
                  <a:pt x="0" y="0"/>
                </a:lnTo>
              </a:path>
            </a:pathLst>
          </a:custGeom>
          <a:solidFill>
            <a:schemeClr val="bg2"/>
          </a:solidFill>
          <a:ln w="12700" cap="rnd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>
              <a:defRPr/>
            </a:pPr>
            <a:endParaRPr lang="en-GB" sz="1539" dirty="0"/>
          </a:p>
        </p:txBody>
      </p:sp>
      <p:sp>
        <p:nvSpPr>
          <p:cNvPr id="19" name="Rectangle 8"/>
          <p:cNvSpPr>
            <a:spLocks noChangeArrowheads="1"/>
          </p:cNvSpPr>
          <p:nvPr/>
        </p:nvSpPr>
        <p:spPr bwMode="auto">
          <a:xfrm>
            <a:off x="1189154" y="2320658"/>
            <a:ext cx="246271" cy="246271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lIns="88272" tIns="30784" rIns="88272" bIns="43362" anchor="ctr"/>
          <a:lstStyle/>
          <a:p>
            <a:pPr algn="ctr" defTabSz="891859" eaLnBrk="0" hangingPunct="0">
              <a:defRPr/>
            </a:pPr>
            <a:r>
              <a:rPr lang="en-US" sz="1197" b="1" i="1">
                <a:solidFill>
                  <a:schemeClr val="bg2"/>
                </a:solidFill>
                <a:latin typeface="+mj-lt"/>
              </a:rPr>
              <a:t>1</a:t>
            </a:r>
          </a:p>
        </p:txBody>
      </p:sp>
      <p:sp>
        <p:nvSpPr>
          <p:cNvPr id="20" name="Rectangle 9"/>
          <p:cNvSpPr>
            <a:spLocks noChangeArrowheads="1"/>
          </p:cNvSpPr>
          <p:nvPr/>
        </p:nvSpPr>
        <p:spPr bwMode="auto">
          <a:xfrm>
            <a:off x="1958847" y="2322015"/>
            <a:ext cx="246271" cy="246271"/>
          </a:xfrm>
          <a:prstGeom prst="rect">
            <a:avLst/>
          </a:prstGeom>
          <a:solidFill>
            <a:srgbClr val="EB8C00"/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lIns="88272" tIns="30784" rIns="88272" bIns="43362" anchor="ctr"/>
          <a:lstStyle/>
          <a:p>
            <a:pPr algn="ctr" defTabSz="891859" eaLnBrk="0" hangingPunct="0">
              <a:defRPr/>
            </a:pPr>
            <a:r>
              <a:rPr lang="en-US" sz="1197" b="1" i="1">
                <a:solidFill>
                  <a:schemeClr val="bg2"/>
                </a:solidFill>
                <a:latin typeface="+mj-lt"/>
              </a:rPr>
              <a:t>2</a:t>
            </a:r>
          </a:p>
        </p:txBody>
      </p:sp>
      <p:sp>
        <p:nvSpPr>
          <p:cNvPr id="21" name="Rectangle 10"/>
          <p:cNvSpPr>
            <a:spLocks noChangeArrowheads="1"/>
          </p:cNvSpPr>
          <p:nvPr/>
        </p:nvSpPr>
        <p:spPr bwMode="auto">
          <a:xfrm>
            <a:off x="2694602" y="2320658"/>
            <a:ext cx="246271" cy="246271"/>
          </a:xfrm>
          <a:prstGeom prst="rect">
            <a:avLst/>
          </a:prstGeom>
          <a:solidFill>
            <a:schemeClr val="tx2"/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lIns="88272" tIns="0" rIns="88272" bIns="43362" anchor="ctr"/>
          <a:lstStyle/>
          <a:p>
            <a:pPr algn="ctr" defTabSz="891859" eaLnBrk="0" hangingPunct="0">
              <a:defRPr/>
            </a:pPr>
            <a:r>
              <a:rPr lang="en-US" sz="1026" b="1" i="1" dirty="0">
                <a:solidFill>
                  <a:schemeClr val="bg2"/>
                </a:solidFill>
                <a:latin typeface="+mj-lt"/>
              </a:rPr>
              <a:t>3</a:t>
            </a:r>
          </a:p>
        </p:txBody>
      </p:sp>
      <p:sp>
        <p:nvSpPr>
          <p:cNvPr id="22" name="Rectangle 21"/>
          <p:cNvSpPr>
            <a:spLocks noChangeArrowheads="1"/>
          </p:cNvSpPr>
          <p:nvPr/>
        </p:nvSpPr>
        <p:spPr bwMode="auto">
          <a:xfrm>
            <a:off x="3809352" y="2861218"/>
            <a:ext cx="2801330" cy="2999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171450" indent="-171450" defTabSz="658374">
              <a:lnSpc>
                <a:spcPct val="95000"/>
              </a:lnSpc>
              <a:buFont typeface="Arial" charset="0"/>
              <a:buChar char="•"/>
              <a:defRPr/>
            </a:pP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With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SIFT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+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HOG</a:t>
            </a:r>
          </a:p>
          <a:p>
            <a:pPr marL="171450" indent="-171450" defTabSz="658374">
              <a:lnSpc>
                <a:spcPct val="95000"/>
              </a:lnSpc>
              <a:buFont typeface="Arial" charset="0"/>
              <a:buChar char="•"/>
              <a:defRPr/>
            </a:pPr>
            <a:endParaRPr lang="de-DE" sz="1026" b="1" dirty="0">
              <a:solidFill>
                <a:schemeClr val="bg2"/>
              </a:solidFill>
              <a:latin typeface="Arial Black" charset="0"/>
              <a:ea typeface="Arial Black" charset="0"/>
              <a:cs typeface="Arial Black" charset="0"/>
            </a:endParaRPr>
          </a:p>
        </p:txBody>
      </p:sp>
      <p:sp>
        <p:nvSpPr>
          <p:cNvPr id="23" name="Rectangle 22"/>
          <p:cNvSpPr>
            <a:spLocks noChangeArrowheads="1"/>
          </p:cNvSpPr>
          <p:nvPr/>
        </p:nvSpPr>
        <p:spPr bwMode="auto">
          <a:xfrm>
            <a:off x="4611198" y="3878358"/>
            <a:ext cx="2801330" cy="2999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171450" indent="-171450" defTabSz="658374">
              <a:lnSpc>
                <a:spcPct val="95000"/>
              </a:lnSpc>
              <a:buFont typeface="Arial" charset="0"/>
              <a:buChar char="•"/>
              <a:defRPr/>
            </a:pP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With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SIFT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+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HOG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endParaRPr lang="en-US" altLang="zh-CN" sz="1026" b="1" dirty="0" smtClean="0">
              <a:solidFill>
                <a:schemeClr val="bg2"/>
              </a:solidFill>
              <a:latin typeface="Arial Black" charset="0"/>
              <a:ea typeface="Arial Black" charset="0"/>
              <a:cs typeface="Arial Black" charset="0"/>
            </a:endParaRPr>
          </a:p>
          <a:p>
            <a:pPr marL="171450" indent="-171450" defTabSz="658374">
              <a:lnSpc>
                <a:spcPct val="95000"/>
              </a:lnSpc>
              <a:buFont typeface="Arial" charset="0"/>
              <a:buChar char="•"/>
              <a:defRPr/>
            </a:pP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Tree: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900</a:t>
            </a:r>
            <a:endParaRPr lang="de-DE" sz="1026" b="1" dirty="0">
              <a:solidFill>
                <a:schemeClr val="bg2"/>
              </a:solidFill>
              <a:latin typeface="Arial Black" charset="0"/>
              <a:ea typeface="Arial Black" charset="0"/>
              <a:cs typeface="Arial Black" charset="0"/>
            </a:endParaRPr>
          </a:p>
        </p:txBody>
      </p:sp>
      <p:sp>
        <p:nvSpPr>
          <p:cNvPr id="24" name="Rectangle 23"/>
          <p:cNvSpPr>
            <a:spLocks noChangeArrowheads="1"/>
          </p:cNvSpPr>
          <p:nvPr/>
        </p:nvSpPr>
        <p:spPr bwMode="auto">
          <a:xfrm>
            <a:off x="5291044" y="5057026"/>
            <a:ext cx="2801330" cy="2999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171450" indent="-171450" defTabSz="658374">
              <a:lnSpc>
                <a:spcPct val="95000"/>
              </a:lnSpc>
              <a:buFont typeface="Arial" charset="0"/>
              <a:buChar char="•"/>
              <a:defRPr/>
            </a:pP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With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SIFT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+</a:t>
            </a:r>
            <a:r>
              <a:rPr lang="zh-CN" altLang="en-US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en-US" altLang="zh-CN" sz="1026" b="1" dirty="0" smtClean="0">
                <a:solidFill>
                  <a:schemeClr val="bg2"/>
                </a:solidFill>
                <a:latin typeface="Arial Black" charset="0"/>
                <a:ea typeface="Arial Black" charset="0"/>
                <a:cs typeface="Arial Black" charset="0"/>
              </a:rPr>
              <a:t>HOG</a:t>
            </a:r>
          </a:p>
          <a:p>
            <a:pPr marL="171450" indent="-171450" defTabSz="658374">
              <a:lnSpc>
                <a:spcPct val="95000"/>
              </a:lnSpc>
              <a:buFont typeface="Arial" charset="0"/>
              <a:buChar char="•"/>
              <a:defRPr/>
            </a:pPr>
            <a:endParaRPr lang="de-DE" sz="1026" b="1" dirty="0">
              <a:solidFill>
                <a:schemeClr val="bg2"/>
              </a:solidFill>
              <a:latin typeface="Arial Black" charset="0"/>
              <a:ea typeface="Arial Black" charset="0"/>
              <a:cs typeface="Arial Black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473308" y="2777892"/>
            <a:ext cx="1800498" cy="3520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altLang="zh-CN" sz="1600" b="1" dirty="0" smtClean="0">
                <a:latin typeface="Arial" charset="0"/>
                <a:ea typeface="Arial" charset="0"/>
                <a:cs typeface="Arial" charset="0"/>
              </a:rPr>
              <a:t>Linear</a:t>
            </a:r>
            <a:r>
              <a:rPr lang="zh-CN" altLang="en-US" sz="1600" b="1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altLang="zh-CN" sz="1600" b="1" dirty="0" smtClean="0">
                <a:latin typeface="Arial" charset="0"/>
                <a:ea typeface="Arial" charset="0"/>
                <a:cs typeface="Arial" charset="0"/>
              </a:rPr>
              <a:t>SVM</a:t>
            </a:r>
            <a:endParaRPr lang="en-US" sz="1600" b="1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195736" y="3941089"/>
            <a:ext cx="1800498" cy="3520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altLang="zh-CN" sz="1600" b="1" dirty="0" smtClean="0">
                <a:latin typeface="Arial" charset="0"/>
                <a:ea typeface="Arial" charset="0"/>
                <a:cs typeface="Arial" charset="0"/>
              </a:rPr>
              <a:t>Random</a:t>
            </a:r>
            <a:r>
              <a:rPr lang="zh-CN" altLang="en-US" sz="1600" b="1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altLang="zh-CN" sz="1600" b="1" dirty="0" smtClean="0">
                <a:latin typeface="Arial" charset="0"/>
                <a:ea typeface="Arial" charset="0"/>
                <a:cs typeface="Arial" charset="0"/>
              </a:rPr>
              <a:t>Forest</a:t>
            </a:r>
            <a:endParaRPr lang="en-US" sz="1600" b="1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787897" y="4958714"/>
            <a:ext cx="2353682" cy="3520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altLang="zh-CN" sz="1600" b="1" dirty="0" smtClean="0">
                <a:latin typeface="Arial" charset="0"/>
                <a:ea typeface="Arial" charset="0"/>
                <a:cs typeface="Arial" charset="0"/>
              </a:rPr>
              <a:t>Logistic</a:t>
            </a:r>
            <a:r>
              <a:rPr lang="zh-CN" altLang="en-US" sz="1600" b="1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altLang="zh-CN" sz="1600" b="1" dirty="0" smtClean="0">
                <a:latin typeface="Arial" charset="0"/>
                <a:ea typeface="Arial" charset="0"/>
                <a:cs typeface="Arial" charset="0"/>
              </a:rPr>
              <a:t>Regression</a:t>
            </a:r>
            <a:endParaRPr lang="en-US" sz="1600" b="1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289146" y="3560541"/>
            <a:ext cx="353627" cy="3520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altLang="zh-CN" sz="2800" b="1" smtClean="0">
                <a:latin typeface="Arial" charset="0"/>
                <a:ea typeface="Arial" charset="0"/>
                <a:cs typeface="Arial" charset="0"/>
              </a:rPr>
              <a:t>+</a:t>
            </a:r>
            <a:endParaRPr lang="en-US" sz="2800" b="1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058133" y="4637416"/>
            <a:ext cx="353627" cy="3520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altLang="zh-CN" sz="2800" b="1" smtClean="0">
                <a:latin typeface="Arial" charset="0"/>
                <a:ea typeface="Arial" charset="0"/>
                <a:cs typeface="Arial" charset="0"/>
              </a:rPr>
              <a:t>+</a:t>
            </a:r>
            <a:endParaRPr lang="en-US" sz="2800" b="1" dirty="0" smtClean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1533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Thank</a:t>
            </a:r>
            <a:r>
              <a:rPr lang="zh-CN" altLang="en-US" dirty="0" smtClean="0"/>
              <a:t> </a:t>
            </a:r>
            <a:r>
              <a:rPr lang="en-US" altLang="zh-CN" dirty="0" smtClean="0"/>
              <a:t>you</a:t>
            </a:r>
            <a:r>
              <a:rPr lang="zh-CN" altLang="en-US" dirty="0" smtClean="0"/>
              <a:t> </a:t>
            </a:r>
            <a:r>
              <a:rPr lang="en-US" altLang="zh-CN" dirty="0" smtClean="0"/>
              <a:t>!</a:t>
            </a:r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484911" y="3613726"/>
            <a:ext cx="3751271" cy="1888383"/>
            <a:chOff x="5640318" y="4079760"/>
            <a:chExt cx="4386902" cy="2208358"/>
          </a:xfrm>
          <a:solidFill>
            <a:srgbClr val="EB8C00"/>
          </a:solidFill>
        </p:grpSpPr>
        <p:sp>
          <p:nvSpPr>
            <p:cNvPr id="5" name="Rectangle 188"/>
            <p:cNvSpPr>
              <a:spLocks noChangeArrowheads="1"/>
            </p:cNvSpPr>
            <p:nvPr/>
          </p:nvSpPr>
          <p:spPr bwMode="auto">
            <a:xfrm>
              <a:off x="5922764" y="4079760"/>
              <a:ext cx="4104456" cy="213635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61568" tIns="61568" rIns="30784" bIns="3078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2791" eaLnBrk="0" hangingPunct="0">
                <a:spcAft>
                  <a:spcPts val="513"/>
                </a:spcAft>
                <a:defRPr/>
              </a:pPr>
              <a:r>
                <a:rPr lang="en-US" altLang="zh-CN" sz="2400" b="1" kern="0" dirty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Group</a:t>
              </a:r>
              <a:r>
                <a:rPr lang="zh-CN" altLang="en-US" sz="2400" b="1" kern="0" dirty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 </a:t>
              </a:r>
              <a:r>
                <a:rPr lang="en-US" altLang="zh-CN" sz="2400" b="1" kern="0" dirty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members:</a:t>
              </a:r>
            </a:p>
            <a:p>
              <a:pPr defTabSz="682791" eaLnBrk="0" hangingPunct="0">
                <a:spcAft>
                  <a:spcPts val="513"/>
                </a:spcAft>
                <a:defRPr/>
              </a:pPr>
              <a:r>
                <a:rPr lang="en-US" altLang="zh-CN" sz="1400" kern="0" dirty="0" smtClean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Alek </a:t>
              </a:r>
              <a:r>
                <a:rPr lang="en-US" altLang="zh-CN" sz="1400" kern="0" dirty="0" err="1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Anichowski</a:t>
              </a:r>
              <a:endParaRPr lang="en-US" altLang="zh-CN" sz="1400" kern="0" dirty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defTabSz="682791" eaLnBrk="0" hangingPunct="0">
                <a:spcAft>
                  <a:spcPts val="513"/>
                </a:spcAft>
                <a:defRPr/>
              </a:pPr>
              <a:r>
                <a:rPr lang="en-US" altLang="zh-CN" sz="1400" kern="0" dirty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Keith James Rodriguez </a:t>
              </a:r>
            </a:p>
            <a:p>
              <a:pPr defTabSz="682791" eaLnBrk="0" hangingPunct="0">
                <a:spcAft>
                  <a:spcPts val="513"/>
                </a:spcAft>
                <a:defRPr/>
              </a:pPr>
              <a:r>
                <a:rPr lang="en-US" altLang="zh-CN" sz="1400" kern="0" dirty="0" err="1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Mingyue</a:t>
              </a:r>
              <a:r>
                <a:rPr lang="en-US" altLang="zh-CN" sz="1400" kern="0" dirty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 Kong </a:t>
              </a:r>
            </a:p>
            <a:p>
              <a:pPr defTabSz="682791" eaLnBrk="0" hangingPunct="0">
                <a:spcAft>
                  <a:spcPts val="513"/>
                </a:spcAft>
                <a:defRPr/>
              </a:pPr>
              <a:r>
                <a:rPr lang="en-US" altLang="zh-CN" sz="1400" kern="0" dirty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Sophie </a:t>
              </a:r>
              <a:r>
                <a:rPr lang="en-US" altLang="zh-CN" sz="1400" kern="0" dirty="0" err="1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Beiers</a:t>
              </a:r>
              <a:r>
                <a:rPr lang="en-US" altLang="zh-CN" sz="1400" kern="0" dirty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 </a:t>
              </a:r>
            </a:p>
            <a:p>
              <a:pPr defTabSz="682791" eaLnBrk="0" hangingPunct="0">
                <a:spcAft>
                  <a:spcPts val="513"/>
                </a:spcAft>
                <a:defRPr/>
              </a:pPr>
              <a:r>
                <a:rPr lang="en-US" altLang="zh-CN" sz="1400" kern="0" dirty="0">
                  <a:solidFill>
                    <a:schemeClr val="bg2"/>
                  </a:solidFill>
                  <a:latin typeface="Arial" charset="0"/>
                  <a:ea typeface="Arial" charset="0"/>
                  <a:cs typeface="Arial" charset="0"/>
                </a:rPr>
                <a:t>Yun Li</a:t>
              </a:r>
            </a:p>
            <a:p>
              <a:pPr defTabSz="682791" eaLnBrk="0" hangingPunct="0">
                <a:spcAft>
                  <a:spcPts val="513"/>
                </a:spcAft>
                <a:defRPr/>
              </a:pPr>
              <a:endParaRPr lang="en-GB" sz="1400" kern="0" dirty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" name="Rectangle 5"/>
            <p:cNvSpPr/>
            <p:nvPr/>
          </p:nvSpPr>
          <p:spPr bwMode="ltGray">
            <a:xfrm>
              <a:off x="5640318" y="6216118"/>
              <a:ext cx="288032" cy="72000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39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3984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GUID" val="17bf96d4-2299-4752-941c-6c58954131b0"/>
  <p:tag name="THINKCELLUNDODONOTDELETE" val="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361.625"/>
  <p:tag name="ADV_LEFT" val="142.25"/>
  <p:tag name="ADV_HEIGHT" val="135"/>
  <p:tag name="ADV_WIDTH" val="13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304.25"/>
  <p:tag name="ADV_LEFT" val="123.5"/>
  <p:tag name="ADV_HEIGHT" val="135"/>
  <p:tag name="ADV_WIDTH" val="13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268.75"/>
  <p:tag name="ADV_LEFT" val="172.375"/>
  <p:tag name="ADV_HEIGHT" val="135"/>
  <p:tag name="ADV_WIDTH" val="13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304.125"/>
  <p:tag name="ADV_LEFT" val="221.125"/>
  <p:tag name="ADV_HEIGHT" val="135"/>
  <p:tag name="ADV_WIDTH" val="13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361.625"/>
  <p:tag name="ADV_LEFT" val="142.25"/>
  <p:tag name="ADV_HEIGHT" val="135"/>
  <p:tag name="ADV_WIDTH" val="13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361.625"/>
  <p:tag name="ADV_LEFT" val="142.25"/>
  <p:tag name="ADV_HEIGHT" val="135"/>
  <p:tag name="ADV_WIDTH" val="13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361.625"/>
  <p:tag name="ADV_LEFT" val="142.25"/>
  <p:tag name="ADV_HEIGHT" val="135"/>
  <p:tag name="ADV_WIDTH" val="13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361.625"/>
  <p:tag name="ADV_LEFT" val="142.25"/>
  <p:tag name="ADV_HEIGHT" val="135"/>
  <p:tag name="ADV_WIDTH" val="13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S9h7DZN0G3q8RFX9VY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svafSJW0CLJCHMAKvK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heme/theme1.xml><?xml version="1.0" encoding="utf-8"?>
<a:theme xmlns:a="http://schemas.openxmlformats.org/drawingml/2006/main" name="PwC Presentation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SimSun"/>
        <a:cs typeface=""/>
      </a:majorFont>
      <a:minorFont>
        <a:latin typeface="SimSun"/>
        <a:ea typeface="SimSun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/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spcAft>
            <a:spcPts val="900"/>
          </a:spcAft>
          <a:defRPr sz="2000" dirty="0" err="1" smtClean="0">
            <a:latin typeface="Georgia" pitchFamily="18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671</TotalTime>
  <Words>458</Words>
  <Application>Microsoft Macintosh PowerPoint</Application>
  <PresentationFormat>On-screen Show (4:3)</PresentationFormat>
  <Paragraphs>258</Paragraphs>
  <Slides>9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rial Black</vt:lpstr>
      <vt:lpstr>Arial Unicode MS</vt:lpstr>
      <vt:lpstr>Calibri</vt:lpstr>
      <vt:lpstr>Georgia</vt:lpstr>
      <vt:lpstr>SimSun</vt:lpstr>
      <vt:lpstr>宋体</vt:lpstr>
      <vt:lpstr>微软雅黑</vt:lpstr>
      <vt:lpstr>黑体</vt:lpstr>
      <vt:lpstr>Arial</vt:lpstr>
      <vt:lpstr>PwC Presentation</vt:lpstr>
      <vt:lpstr>PowerPoint Presentation</vt:lpstr>
      <vt:lpstr>Table of Contents</vt:lpstr>
      <vt:lpstr>1. Project Overview</vt:lpstr>
      <vt:lpstr> </vt:lpstr>
      <vt:lpstr> </vt:lpstr>
      <vt:lpstr> </vt:lpstr>
      <vt:lpstr> </vt:lpstr>
      <vt:lpstr> </vt:lpstr>
      <vt:lpstr>Thank you !</vt:lpstr>
    </vt:vector>
  </TitlesOfParts>
  <Company>PricewaterhouseCoopers</Company>
  <LinksUpToDate>false</LinksUpToDate>
  <SharedDoc>false</SharedDoc>
  <HyperlinksChanged>false</HyperlinksChanged>
  <AppVersion>15.0038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enda</dc:title>
  <dc:creator>Jasmine Tu</dc:creator>
  <cp:lastModifiedBy>Yun LI</cp:lastModifiedBy>
  <cp:revision>495</cp:revision>
  <dcterms:created xsi:type="dcterms:W3CDTF">2013-03-12T08:37:58Z</dcterms:created>
  <dcterms:modified xsi:type="dcterms:W3CDTF">2018-03-05T00:16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version">
    <vt:lpwstr>6</vt:lpwstr>
  </property>
  <property fmtid="{D5CDD505-2E9C-101B-9397-08002B2CF9AE}" pid="3" name="TB template type">
    <vt:lpwstr>Onscreen</vt:lpwstr>
  </property>
  <property fmtid="{D5CDD505-2E9C-101B-9397-08002B2CF9AE}" pid="4" name="Template created by">
    <vt:lpwstr>PwC</vt:lpwstr>
  </property>
  <property fmtid="{D5CDD505-2E9C-101B-9397-08002B2CF9AE}" pid="5" name="Template version">
    <vt:lpwstr>6</vt:lpwstr>
  </property>
</Properties>
</file>